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1"/>
  </p:notesMasterIdLst>
  <p:sldIdLst>
    <p:sldId id="256" r:id="rId2"/>
    <p:sldId id="275" r:id="rId3"/>
    <p:sldId id="257" r:id="rId4"/>
    <p:sldId id="258" r:id="rId5"/>
    <p:sldId id="279" r:id="rId6"/>
    <p:sldId id="281" r:id="rId7"/>
    <p:sldId id="259" r:id="rId8"/>
    <p:sldId id="260" r:id="rId9"/>
    <p:sldId id="261" r:id="rId10"/>
    <p:sldId id="262" r:id="rId11"/>
    <p:sldId id="263" r:id="rId12"/>
    <p:sldId id="278" r:id="rId13"/>
    <p:sldId id="264" r:id="rId14"/>
    <p:sldId id="265" r:id="rId15"/>
    <p:sldId id="266" r:id="rId16"/>
    <p:sldId id="267" r:id="rId17"/>
    <p:sldId id="282" r:id="rId18"/>
    <p:sldId id="280" r:id="rId19"/>
    <p:sldId id="274" r:id="rId20"/>
  </p:sldIdLst>
  <p:sldSz cx="18288000" cy="10287000"/>
  <p:notesSz cx="6858000" cy="9144000"/>
  <p:embeddedFontLst>
    <p:embeddedFont>
      <p:font typeface="Lato" panose="020B0604020202020204" charset="0"/>
      <p:regular r:id="rId22"/>
      <p:bold r:id="rId23"/>
      <p:italic r:id="rId24"/>
      <p:boldItalic r:id="rId25"/>
    </p:embeddedFont>
    <p:embeddedFont>
      <p:font typeface="League Spartan" panose="020B0604020202020204" charset="0"/>
      <p:regular r:id="rId26"/>
      <p:bold r:id="rId27"/>
    </p:embeddedFont>
    <p:embeddedFont>
      <p:font typeface="League Spartan ExtraBold" panose="020B0604020202020204" charset="0"/>
      <p:bold r:id="rId2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000000"/>
          </p15:clr>
        </p15:guide>
        <p15:guide id="2" pos="2880">
          <p15:clr>
            <a:srgbClr val="000000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6" roundtripDataSignature="AMtx7mjmrHGfaRz8UCn9sYQ89/VdqimvN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14A879-33EF-5835-BAA7-474D4BC79EF9}" v="52" dt="2024-12-05T00:59:29.485"/>
    <p1510:client id="{13C70B7B-225F-2A9A-C987-FC7ADF0F07D0}" v="72" dt="2024-12-05T02:31:55.079"/>
    <p1510:client id="{14AD17F4-AA65-FE82-33E0-329C9D61FA32}" v="34" dt="2024-12-05T01:36:41.110"/>
    <p1510:client id="{4714325C-5450-899C-B616-B4C5AF7CA027}" v="104" dt="2024-12-05T02:47:07.958"/>
    <p1510:client id="{5B960D5B-FDBB-3532-D0A5-1596C429408C}" v="6" dt="2024-12-05T02:44:48.906"/>
    <p1510:client id="{83EBB314-02FD-389E-D0F7-FD5FCCAFA424}" v="173" dt="2024-12-05T02:50:42.716"/>
    <p1510:client id="{A87F7AD5-4E7E-2CF1-9D20-2A19A9CAA5F2}" v="725" dt="2024-12-05T02:36:28.1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hande@usc.edu" userId="S::urn:spo:guest#adhande@usc.edu::" providerId="AD" clId="Web-{13C70B7B-225F-2A9A-C987-FC7ADF0F07D0}"/>
    <pc:docChg chg="addSld delSld modSld">
      <pc:chgData name="adhande@usc.edu" userId="S::urn:spo:guest#adhande@usc.edu::" providerId="AD" clId="Web-{13C70B7B-225F-2A9A-C987-FC7ADF0F07D0}" dt="2024-12-05T02:31:55.079" v="65" actId="20577"/>
      <pc:docMkLst>
        <pc:docMk/>
      </pc:docMkLst>
      <pc:sldChg chg="delSp modSp">
        <pc:chgData name="adhande@usc.edu" userId="S::urn:spo:guest#adhande@usc.edu::" providerId="AD" clId="Web-{13C70B7B-225F-2A9A-C987-FC7ADF0F07D0}" dt="2024-12-05T02:11:01.397" v="62" actId="1076"/>
        <pc:sldMkLst>
          <pc:docMk/>
          <pc:sldMk cId="0" sldId="256"/>
        </pc:sldMkLst>
        <pc:spChg chg="del">
          <ac:chgData name="adhande@usc.edu" userId="S::urn:spo:guest#adhande@usc.edu::" providerId="AD" clId="Web-{13C70B7B-225F-2A9A-C987-FC7ADF0F07D0}" dt="2024-12-05T02:10:45.506" v="54"/>
          <ac:spMkLst>
            <pc:docMk/>
            <pc:sldMk cId="0" sldId="256"/>
            <ac:spMk id="143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2:10:46.896" v="55"/>
          <ac:spMkLst>
            <pc:docMk/>
            <pc:sldMk cId="0" sldId="256"/>
            <ac:spMk id="144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2:10:48.193" v="56"/>
          <ac:spMkLst>
            <pc:docMk/>
            <pc:sldMk cId="0" sldId="256"/>
            <ac:spMk id="145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2:10:49.412" v="57"/>
          <ac:spMkLst>
            <pc:docMk/>
            <pc:sldMk cId="0" sldId="256"/>
            <ac:spMk id="146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2:10:50.615" v="58"/>
          <ac:spMkLst>
            <pc:docMk/>
            <pc:sldMk cId="0" sldId="256"/>
            <ac:spMk id="147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2:10:52.943" v="59"/>
          <ac:spMkLst>
            <pc:docMk/>
            <pc:sldMk cId="0" sldId="256"/>
            <ac:spMk id="148" creationId="{00000000-0000-0000-0000-000000000000}"/>
          </ac:spMkLst>
        </pc:spChg>
        <pc:spChg chg="mod">
          <ac:chgData name="adhande@usc.edu" userId="S::urn:spo:guest#adhande@usc.edu::" providerId="AD" clId="Web-{13C70B7B-225F-2A9A-C987-FC7ADF0F07D0}" dt="2024-12-05T02:10:26.067" v="51" actId="20577"/>
          <ac:spMkLst>
            <pc:docMk/>
            <pc:sldMk cId="0" sldId="256"/>
            <ac:spMk id="149" creationId="{00000000-0000-0000-0000-000000000000}"/>
          </ac:spMkLst>
        </pc:spChg>
        <pc:spChg chg="mod">
          <ac:chgData name="adhande@usc.edu" userId="S::urn:spo:guest#adhande@usc.edu::" providerId="AD" clId="Web-{13C70B7B-225F-2A9A-C987-FC7ADF0F07D0}" dt="2024-12-05T02:10:57.741" v="61" actId="1076"/>
          <ac:spMkLst>
            <pc:docMk/>
            <pc:sldMk cId="0" sldId="256"/>
            <ac:spMk id="150" creationId="{00000000-0000-0000-0000-000000000000}"/>
          </ac:spMkLst>
        </pc:spChg>
        <pc:spChg chg="mod">
          <ac:chgData name="adhande@usc.edu" userId="S::urn:spo:guest#adhande@usc.edu::" providerId="AD" clId="Web-{13C70B7B-225F-2A9A-C987-FC7ADF0F07D0}" dt="2024-12-05T02:11:01.397" v="62" actId="1076"/>
          <ac:spMkLst>
            <pc:docMk/>
            <pc:sldMk cId="0" sldId="256"/>
            <ac:spMk id="151" creationId="{00000000-0000-0000-0000-000000000000}"/>
          </ac:spMkLst>
        </pc:spChg>
        <pc:spChg chg="mod">
          <ac:chgData name="adhande@usc.edu" userId="S::urn:spo:guest#adhande@usc.edu::" providerId="AD" clId="Web-{13C70B7B-225F-2A9A-C987-FC7ADF0F07D0}" dt="2024-12-05T02:10:31.411" v="52" actId="1076"/>
          <ac:spMkLst>
            <pc:docMk/>
            <pc:sldMk cId="0" sldId="256"/>
            <ac:spMk id="153" creationId="{00000000-0000-0000-0000-000000000000}"/>
          </ac:spMkLst>
        </pc:spChg>
      </pc:sldChg>
      <pc:sldChg chg="addSp delSp modSp">
        <pc:chgData name="adhande@usc.edu" userId="S::urn:spo:guest#adhande@usc.edu::" providerId="AD" clId="Web-{13C70B7B-225F-2A9A-C987-FC7ADF0F07D0}" dt="2024-12-05T02:31:55.079" v="65" actId="20577"/>
        <pc:sldMkLst>
          <pc:docMk/>
          <pc:sldMk cId="0" sldId="264"/>
        </pc:sldMkLst>
        <pc:spChg chg="add mod">
          <ac:chgData name="adhande@usc.edu" userId="S::urn:spo:guest#adhande@usc.edu::" providerId="AD" clId="Web-{13C70B7B-225F-2A9A-C987-FC7ADF0F07D0}" dt="2024-12-05T02:31:55.079" v="65" actId="20577"/>
          <ac:spMkLst>
            <pc:docMk/>
            <pc:sldMk cId="0" sldId="264"/>
            <ac:spMk id="2" creationId="{CE1CEB20-FE31-53E0-DCE0-851DEE41ED54}"/>
          </ac:spMkLst>
        </pc:spChg>
        <pc:spChg chg="del">
          <ac:chgData name="adhande@usc.edu" userId="S::urn:spo:guest#adhande@usc.edu::" providerId="AD" clId="Web-{13C70B7B-225F-2A9A-C987-FC7ADF0F07D0}" dt="2024-12-05T01:17:26.877" v="4"/>
          <ac:spMkLst>
            <pc:docMk/>
            <pc:sldMk cId="0" sldId="264"/>
            <ac:spMk id="260" creationId="{00000000-0000-0000-0000-000000000000}"/>
          </ac:spMkLst>
        </pc:spChg>
        <pc:spChg chg="del mod">
          <ac:chgData name="adhande@usc.edu" userId="S::urn:spo:guest#adhande@usc.edu::" providerId="AD" clId="Web-{13C70B7B-225F-2A9A-C987-FC7ADF0F07D0}" dt="2024-12-05T01:17:37.549" v="10"/>
          <ac:spMkLst>
            <pc:docMk/>
            <pc:sldMk cId="0" sldId="264"/>
            <ac:spMk id="261" creationId="{00000000-0000-0000-0000-000000000000}"/>
          </ac:spMkLst>
        </pc:spChg>
        <pc:spChg chg="del mod">
          <ac:chgData name="adhande@usc.edu" userId="S::urn:spo:guest#adhande@usc.edu::" providerId="AD" clId="Web-{13C70B7B-225F-2A9A-C987-FC7ADF0F07D0}" dt="2024-12-05T01:17:30.690" v="7"/>
          <ac:spMkLst>
            <pc:docMk/>
            <pc:sldMk cId="0" sldId="264"/>
            <ac:spMk id="262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1:17:26.877" v="3"/>
          <ac:spMkLst>
            <pc:docMk/>
            <pc:sldMk cId="0" sldId="264"/>
            <ac:spMk id="263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1:17:26.877" v="0"/>
          <ac:spMkLst>
            <pc:docMk/>
            <pc:sldMk cId="0" sldId="264"/>
            <ac:spMk id="266" creationId="{00000000-0000-0000-0000-000000000000}"/>
          </ac:spMkLst>
        </pc:spChg>
        <pc:graphicFrameChg chg="add mod">
          <ac:chgData name="adhande@usc.edu" userId="S::urn:spo:guest#adhande@usc.edu::" providerId="AD" clId="Web-{13C70B7B-225F-2A9A-C987-FC7ADF0F07D0}" dt="2024-12-05T01:19:32.130" v="24" actId="1076"/>
          <ac:graphicFrameMkLst>
            <pc:docMk/>
            <pc:sldMk cId="0" sldId="264"/>
            <ac:graphicFrameMk id="7" creationId="{E5932369-7FA1-46BF-4D2E-C2A743507C07}"/>
          </ac:graphicFrameMkLst>
        </pc:graphicFrameChg>
        <pc:picChg chg="add">
          <ac:chgData name="adhande@usc.edu" userId="S::urn:spo:guest#adhande@usc.edu::" providerId="AD" clId="Web-{13C70B7B-225F-2A9A-C987-FC7ADF0F07D0}" dt="2024-12-05T01:18:09.268" v="11"/>
          <ac:picMkLst>
            <pc:docMk/>
            <pc:sldMk cId="0" sldId="264"/>
            <ac:picMk id="3" creationId="{E0A80C3C-E0FA-400E-A2A5-83514109DF12}"/>
          </ac:picMkLst>
        </pc:picChg>
        <pc:picChg chg="add">
          <ac:chgData name="adhande@usc.edu" userId="S::urn:spo:guest#adhande@usc.edu::" providerId="AD" clId="Web-{13C70B7B-225F-2A9A-C987-FC7ADF0F07D0}" dt="2024-12-05T01:18:09.268" v="11"/>
          <ac:picMkLst>
            <pc:docMk/>
            <pc:sldMk cId="0" sldId="264"/>
            <ac:picMk id="4" creationId="{4708D0BD-5D30-054A-337A-1E8510141206}"/>
          </ac:picMkLst>
        </pc:picChg>
        <pc:picChg chg="add">
          <ac:chgData name="adhande@usc.edu" userId="S::urn:spo:guest#adhande@usc.edu::" providerId="AD" clId="Web-{13C70B7B-225F-2A9A-C987-FC7ADF0F07D0}" dt="2024-12-05T01:18:09.268" v="11"/>
          <ac:picMkLst>
            <pc:docMk/>
            <pc:sldMk cId="0" sldId="264"/>
            <ac:picMk id="5" creationId="{3FB5646C-8A14-6752-5775-40F4B87C2E2D}"/>
          </ac:picMkLst>
        </pc:picChg>
        <pc:picChg chg="del">
          <ac:chgData name="adhande@usc.edu" userId="S::urn:spo:guest#adhande@usc.edu::" providerId="AD" clId="Web-{13C70B7B-225F-2A9A-C987-FC7ADF0F07D0}" dt="2024-12-05T01:17:26.877" v="2"/>
          <ac:picMkLst>
            <pc:docMk/>
            <pc:sldMk cId="0" sldId="264"/>
            <ac:picMk id="264" creationId="{00000000-0000-0000-0000-000000000000}"/>
          </ac:picMkLst>
        </pc:picChg>
        <pc:picChg chg="del">
          <ac:chgData name="adhande@usc.edu" userId="S::urn:spo:guest#adhande@usc.edu::" providerId="AD" clId="Web-{13C70B7B-225F-2A9A-C987-FC7ADF0F07D0}" dt="2024-12-05T01:17:26.877" v="1"/>
          <ac:picMkLst>
            <pc:docMk/>
            <pc:sldMk cId="0" sldId="264"/>
            <ac:picMk id="265" creationId="{00000000-0000-0000-0000-000000000000}"/>
          </ac:picMkLst>
        </pc:picChg>
      </pc:sldChg>
      <pc:sldChg chg="addSp delSp modSp">
        <pc:chgData name="adhande@usc.edu" userId="S::urn:spo:guest#adhande@usc.edu::" providerId="AD" clId="Web-{13C70B7B-225F-2A9A-C987-FC7ADF0F07D0}" dt="2024-12-05T01:19:32.864" v="25"/>
        <pc:sldMkLst>
          <pc:docMk/>
          <pc:sldMk cId="0" sldId="265"/>
        </pc:sldMkLst>
        <pc:spChg chg="add">
          <ac:chgData name="adhande@usc.edu" userId="S::urn:spo:guest#adhande@usc.edu::" providerId="AD" clId="Web-{13C70B7B-225F-2A9A-C987-FC7ADF0F07D0}" dt="2024-12-05T01:18:59.301" v="18"/>
          <ac:spMkLst>
            <pc:docMk/>
            <pc:sldMk cId="0" sldId="265"/>
            <ac:spMk id="2" creationId="{199F856F-F788-2B19-4C55-4D29CAB55670}"/>
          </ac:spMkLst>
        </pc:spChg>
        <pc:spChg chg="add">
          <ac:chgData name="adhande@usc.edu" userId="S::urn:spo:guest#adhande@usc.edu::" providerId="AD" clId="Web-{13C70B7B-225F-2A9A-C987-FC7ADF0F07D0}" dt="2024-12-05T01:18:59.301" v="18"/>
          <ac:spMkLst>
            <pc:docMk/>
            <pc:sldMk cId="0" sldId="265"/>
            <ac:spMk id="3" creationId="{33514F6F-F3A2-AA6C-3892-A469072EAD42}"/>
          </ac:spMkLst>
        </pc:spChg>
        <pc:spChg chg="del">
          <ac:chgData name="adhande@usc.edu" userId="S::urn:spo:guest#adhande@usc.edu::" providerId="AD" clId="Web-{13C70B7B-225F-2A9A-C987-FC7ADF0F07D0}" dt="2024-12-05T01:18:51.004" v="17"/>
          <ac:spMkLst>
            <pc:docMk/>
            <pc:sldMk cId="0" sldId="265"/>
            <ac:spMk id="276" creationId="{00000000-0000-0000-0000-000000000000}"/>
          </ac:spMkLst>
        </pc:spChg>
        <pc:spChg chg="del">
          <ac:chgData name="adhande@usc.edu" userId="S::urn:spo:guest#adhande@usc.edu::" providerId="AD" clId="Web-{13C70B7B-225F-2A9A-C987-FC7ADF0F07D0}" dt="2024-12-05T01:18:51.004" v="16"/>
          <ac:spMkLst>
            <pc:docMk/>
            <pc:sldMk cId="0" sldId="265"/>
            <ac:spMk id="277" creationId="{00000000-0000-0000-0000-000000000000}"/>
          </ac:spMkLst>
        </pc:spChg>
        <pc:spChg chg="del mod">
          <ac:chgData name="adhande@usc.edu" userId="S::urn:spo:guest#adhande@usc.edu::" providerId="AD" clId="Web-{13C70B7B-225F-2A9A-C987-FC7ADF0F07D0}" dt="2024-12-05T01:19:32.864" v="25"/>
          <ac:spMkLst>
            <pc:docMk/>
            <pc:sldMk cId="0" sldId="265"/>
            <ac:spMk id="279" creationId="{00000000-0000-0000-0000-000000000000}"/>
          </ac:spMkLst>
        </pc:spChg>
        <pc:graphicFrameChg chg="add mod">
          <ac:chgData name="adhande@usc.edu" userId="S::urn:spo:guest#adhande@usc.edu::" providerId="AD" clId="Web-{13C70B7B-225F-2A9A-C987-FC7ADF0F07D0}" dt="2024-12-05T01:19:15.098" v="20" actId="1076"/>
          <ac:graphicFrameMkLst>
            <pc:docMk/>
            <pc:sldMk cId="0" sldId="265"/>
            <ac:graphicFrameMk id="6" creationId="{26AF5EEF-18FD-131E-1E45-084012D3897F}"/>
          </ac:graphicFrameMkLst>
        </pc:graphicFrameChg>
        <pc:picChg chg="add">
          <ac:chgData name="adhande@usc.edu" userId="S::urn:spo:guest#adhande@usc.edu::" providerId="AD" clId="Web-{13C70B7B-225F-2A9A-C987-FC7ADF0F07D0}" dt="2024-12-05T01:18:59.301" v="18"/>
          <ac:picMkLst>
            <pc:docMk/>
            <pc:sldMk cId="0" sldId="265"/>
            <ac:picMk id="4" creationId="{2260190D-BD47-9CF6-198A-56EF33465C12}"/>
          </ac:picMkLst>
        </pc:picChg>
        <pc:picChg chg="del">
          <ac:chgData name="adhande@usc.edu" userId="S::urn:spo:guest#adhande@usc.edu::" providerId="AD" clId="Web-{13C70B7B-225F-2A9A-C987-FC7ADF0F07D0}" dt="2024-12-05T01:18:51.004" v="15"/>
          <ac:picMkLst>
            <pc:docMk/>
            <pc:sldMk cId="0" sldId="265"/>
            <ac:picMk id="278" creationId="{00000000-0000-0000-0000-000000000000}"/>
          </ac:picMkLst>
        </pc:picChg>
        <pc:picChg chg="del">
          <ac:chgData name="adhande@usc.edu" userId="S::urn:spo:guest#adhande@usc.edu::" providerId="AD" clId="Web-{13C70B7B-225F-2A9A-C987-FC7ADF0F07D0}" dt="2024-12-05T01:18:51.004" v="14"/>
          <ac:picMkLst>
            <pc:docMk/>
            <pc:sldMk cId="0" sldId="265"/>
            <ac:picMk id="280" creationId="{00000000-0000-0000-0000-000000000000}"/>
          </ac:picMkLst>
        </pc:picChg>
      </pc:sldChg>
      <pc:sldChg chg="addSp delSp modSp del mod setBg">
        <pc:chgData name="adhande@usc.edu" userId="S::urn:spo:guest#adhande@usc.edu::" providerId="AD" clId="Web-{13C70B7B-225F-2A9A-C987-FC7ADF0F07D0}" dt="2024-12-05T02:00:58.236" v="44"/>
        <pc:sldMkLst>
          <pc:docMk/>
          <pc:sldMk cId="2757610858" sldId="277"/>
        </pc:sldMkLst>
        <pc:spChg chg="del">
          <ac:chgData name="adhande@usc.edu" userId="S::urn:spo:guest#adhande@usc.edu::" providerId="AD" clId="Web-{13C70B7B-225F-2A9A-C987-FC7ADF0F07D0}" dt="2024-12-05T02:00:33.797" v="36"/>
          <ac:spMkLst>
            <pc:docMk/>
            <pc:sldMk cId="2757610858" sldId="277"/>
            <ac:spMk id="2" creationId="{CEF6AD44-71DE-7C91-368E-1AC1FD213050}"/>
          </ac:spMkLst>
        </pc:spChg>
        <pc:spChg chg="del mod">
          <ac:chgData name="adhande@usc.edu" userId="S::urn:spo:guest#adhande@usc.edu::" providerId="AD" clId="Web-{13C70B7B-225F-2A9A-C987-FC7ADF0F07D0}" dt="2024-12-05T02:00:33.735" v="35"/>
          <ac:spMkLst>
            <pc:docMk/>
            <pc:sldMk cId="2757610858" sldId="277"/>
            <ac:spMk id="3" creationId="{6F4C9296-369C-BA32-CC75-46FC07B53D83}"/>
          </ac:spMkLst>
        </pc:spChg>
        <pc:spChg chg="add mod">
          <ac:chgData name="adhande@usc.edu" userId="S::urn:spo:guest#adhande@usc.edu::" providerId="AD" clId="Web-{13C70B7B-225F-2A9A-C987-FC7ADF0F07D0}" dt="2024-12-05T02:00:33.735" v="35"/>
          <ac:spMkLst>
            <pc:docMk/>
            <pc:sldMk cId="2757610858" sldId="277"/>
            <ac:spMk id="6" creationId="{6008A29A-BB3C-66AB-7189-BC7AD1BF5D27}"/>
          </ac:spMkLst>
        </pc:spChg>
        <pc:spChg chg="add mod">
          <ac:chgData name="adhande@usc.edu" userId="S::urn:spo:guest#adhande@usc.edu::" providerId="AD" clId="Web-{13C70B7B-225F-2A9A-C987-FC7ADF0F07D0}" dt="2024-12-05T02:00:33.797" v="36"/>
          <ac:spMkLst>
            <pc:docMk/>
            <pc:sldMk cId="2757610858" sldId="277"/>
            <ac:spMk id="8" creationId="{1A4075E7-BA83-5B7B-CA83-1D30B1E71A95}"/>
          </ac:spMkLst>
        </pc:spChg>
      </pc:sldChg>
      <pc:sldChg chg="addSp delSp modSp new mod modClrScheme chgLayout">
        <pc:chgData name="adhande@usc.edu" userId="S::urn:spo:guest#adhande@usc.edu::" providerId="AD" clId="Web-{13C70B7B-225F-2A9A-C987-FC7ADF0F07D0}" dt="2024-12-05T02:02:06.457" v="49" actId="20577"/>
        <pc:sldMkLst>
          <pc:docMk/>
          <pc:sldMk cId="2066581007" sldId="279"/>
        </pc:sldMkLst>
        <pc:spChg chg="del">
          <ac:chgData name="adhande@usc.edu" userId="S::urn:spo:guest#adhande@usc.edu::" providerId="AD" clId="Web-{13C70B7B-225F-2A9A-C987-FC7ADF0F07D0}" dt="2024-12-05T02:00:29.297" v="34"/>
          <ac:spMkLst>
            <pc:docMk/>
            <pc:sldMk cId="2066581007" sldId="279"/>
            <ac:spMk id="2" creationId="{3A240877-7013-2015-A6A9-1394AF8B7500}"/>
          </ac:spMkLst>
        </pc:spChg>
        <pc:spChg chg="del">
          <ac:chgData name="adhande@usc.edu" userId="S::urn:spo:guest#adhande@usc.edu::" providerId="AD" clId="Web-{13C70B7B-225F-2A9A-C987-FC7ADF0F07D0}" dt="2024-12-05T02:00:29.297" v="34"/>
          <ac:spMkLst>
            <pc:docMk/>
            <pc:sldMk cId="2066581007" sldId="279"/>
            <ac:spMk id="3" creationId="{D7896EF9-96CD-2C28-C977-29C033B6973F}"/>
          </ac:spMkLst>
        </pc:spChg>
        <pc:spChg chg="del">
          <ac:chgData name="adhande@usc.edu" userId="S::urn:spo:guest#adhande@usc.edu::" providerId="AD" clId="Web-{13C70B7B-225F-2A9A-C987-FC7ADF0F07D0}" dt="2024-12-05T02:00:29.297" v="34"/>
          <ac:spMkLst>
            <pc:docMk/>
            <pc:sldMk cId="2066581007" sldId="279"/>
            <ac:spMk id="4" creationId="{2E8576FA-A069-84A1-B33D-DFA7E4A1A2E9}"/>
          </ac:spMkLst>
        </pc:spChg>
        <pc:spChg chg="add mod">
          <ac:chgData name="adhande@usc.edu" userId="S::urn:spo:guest#adhande@usc.edu::" providerId="AD" clId="Web-{13C70B7B-225F-2A9A-C987-FC7ADF0F07D0}" dt="2024-12-05T02:01:06.595" v="46" actId="20577"/>
          <ac:spMkLst>
            <pc:docMk/>
            <pc:sldMk cId="2066581007" sldId="279"/>
            <ac:spMk id="5" creationId="{CEF6AD44-71DE-7C91-368E-1AC1FD213050}"/>
          </ac:spMkLst>
        </pc:spChg>
        <pc:spChg chg="add mod">
          <ac:chgData name="adhande@usc.edu" userId="S::urn:spo:guest#adhande@usc.edu::" providerId="AD" clId="Web-{13C70B7B-225F-2A9A-C987-FC7ADF0F07D0}" dt="2024-12-05T02:02:06.457" v="49" actId="20577"/>
          <ac:spMkLst>
            <pc:docMk/>
            <pc:sldMk cId="2066581007" sldId="279"/>
            <ac:spMk id="6" creationId="{6F4C9296-369C-BA32-CC75-46FC07B53D83}"/>
          </ac:spMkLst>
        </pc:spChg>
      </pc:sldChg>
    </pc:docChg>
  </pc:docChgLst>
  <pc:docChgLst>
    <pc:chgData name="Kumari, Shalini" userId="S::shalinik@marshall.usc.edu::33d3f72e-69a3-4687-95aa-06e402c230e7" providerId="AD" clId="Web-{5B960D5B-FDBB-3532-D0A5-1596C429408C}"/>
    <pc:docChg chg="modSld">
      <pc:chgData name="Kumari, Shalini" userId="S::shalinik@marshall.usc.edu::33d3f72e-69a3-4687-95aa-06e402c230e7" providerId="AD" clId="Web-{5B960D5B-FDBB-3532-D0A5-1596C429408C}" dt="2024-12-05T02:44:46.843" v="1" actId="20577"/>
      <pc:docMkLst>
        <pc:docMk/>
      </pc:docMkLst>
      <pc:sldChg chg="modSp">
        <pc:chgData name="Kumari, Shalini" userId="S::shalinik@marshall.usc.edu::33d3f72e-69a3-4687-95aa-06e402c230e7" providerId="AD" clId="Web-{5B960D5B-FDBB-3532-D0A5-1596C429408C}" dt="2024-12-05T02:44:46.843" v="1" actId="20577"/>
        <pc:sldMkLst>
          <pc:docMk/>
          <pc:sldMk cId="0" sldId="256"/>
        </pc:sldMkLst>
        <pc:spChg chg="mod">
          <ac:chgData name="Kumari, Shalini" userId="S::shalinik@marshall.usc.edu::33d3f72e-69a3-4687-95aa-06e402c230e7" providerId="AD" clId="Web-{5B960D5B-FDBB-3532-D0A5-1596C429408C}" dt="2024-12-05T02:44:46.843" v="1" actId="20577"/>
          <ac:spMkLst>
            <pc:docMk/>
            <pc:sldMk cId="0" sldId="256"/>
            <ac:spMk id="149" creationId="{00000000-0000-0000-0000-000000000000}"/>
          </ac:spMkLst>
        </pc:spChg>
      </pc:sldChg>
    </pc:docChg>
  </pc:docChgLst>
  <pc:docChgLst>
    <pc:chgData name="Mao, Ted" userId="S::tedmao@marshall.usc.edu::aba2bfce-aa2c-4000-9d46-fb843e632a65" providerId="AD" clId="Web-{4714325C-5450-899C-B616-B4C5AF7CA027}"/>
    <pc:docChg chg="addSld delSld modSld">
      <pc:chgData name="Mao, Ted" userId="S::tedmao@marshall.usc.edu::aba2bfce-aa2c-4000-9d46-fb843e632a65" providerId="AD" clId="Web-{4714325C-5450-899C-B616-B4C5AF7CA027}" dt="2024-12-05T02:47:07.958" v="64" actId="14100"/>
      <pc:docMkLst>
        <pc:docMk/>
      </pc:docMkLst>
      <pc:sldChg chg="del">
        <pc:chgData name="Mao, Ted" userId="S::tedmao@marshall.usc.edu::aba2bfce-aa2c-4000-9d46-fb843e632a65" providerId="AD" clId="Web-{4714325C-5450-899C-B616-B4C5AF7CA027}" dt="2024-12-05T02:19:03.224" v="2"/>
        <pc:sldMkLst>
          <pc:docMk/>
          <pc:sldMk cId="0" sldId="272"/>
        </pc:sldMkLst>
      </pc:sldChg>
      <pc:sldChg chg="del">
        <pc:chgData name="Mao, Ted" userId="S::tedmao@marshall.usc.edu::aba2bfce-aa2c-4000-9d46-fb843e632a65" providerId="AD" clId="Web-{4714325C-5450-899C-B616-B4C5AF7CA027}" dt="2024-12-05T02:19:00.895" v="1"/>
        <pc:sldMkLst>
          <pc:docMk/>
          <pc:sldMk cId="0" sldId="273"/>
        </pc:sldMkLst>
      </pc:sldChg>
      <pc:sldChg chg="addSp delSp modSp add">
        <pc:chgData name="Mao, Ted" userId="S::tedmao@marshall.usc.edu::aba2bfce-aa2c-4000-9d46-fb843e632a65" providerId="AD" clId="Web-{4714325C-5450-899C-B616-B4C5AF7CA027}" dt="2024-12-05T02:47:07.958" v="64" actId="14100"/>
        <pc:sldMkLst>
          <pc:docMk/>
          <pc:sldMk cId="2344577898" sldId="280"/>
        </pc:sldMkLst>
        <pc:spChg chg="del mod">
          <ac:chgData name="Mao, Ted" userId="S::tedmao@marshall.usc.edu::aba2bfce-aa2c-4000-9d46-fb843e632a65" providerId="AD" clId="Web-{4714325C-5450-899C-B616-B4C5AF7CA027}" dt="2024-12-05T02:46:12.206" v="59"/>
          <ac:spMkLst>
            <pc:docMk/>
            <pc:sldMk cId="2344577898" sldId="280"/>
            <ac:spMk id="8" creationId="{0C549112-D82E-D4F8-C5D2-FA8D38C842DF}"/>
          </ac:spMkLst>
        </pc:spChg>
        <pc:spChg chg="mod">
          <ac:chgData name="Mao, Ted" userId="S::tedmao@marshall.usc.edu::aba2bfce-aa2c-4000-9d46-fb843e632a65" providerId="AD" clId="Web-{4714325C-5450-899C-B616-B4C5AF7CA027}" dt="2024-12-05T02:31:20.064" v="57" actId="20577"/>
          <ac:spMkLst>
            <pc:docMk/>
            <pc:sldMk cId="2344577898" sldId="280"/>
            <ac:spMk id="370" creationId="{00000000-0000-0000-0000-000000000000}"/>
          </ac:spMkLst>
        </pc:spChg>
        <pc:picChg chg="del">
          <ac:chgData name="Mao, Ted" userId="S::tedmao@marshall.usc.edu::aba2bfce-aa2c-4000-9d46-fb843e632a65" providerId="AD" clId="Web-{4714325C-5450-899C-B616-B4C5AF7CA027}" dt="2024-12-05T02:28:27.979" v="13"/>
          <ac:picMkLst>
            <pc:docMk/>
            <pc:sldMk cId="2344577898" sldId="280"/>
            <ac:picMk id="2" creationId="{17805E80-4DB3-8354-9843-FA031ADA556A}"/>
          </ac:picMkLst>
        </pc:picChg>
        <pc:picChg chg="del">
          <ac:chgData name="Mao, Ted" userId="S::tedmao@marshall.usc.edu::aba2bfce-aa2c-4000-9d46-fb843e632a65" providerId="AD" clId="Web-{4714325C-5450-899C-B616-B4C5AF7CA027}" dt="2024-12-05T02:28:36.683" v="17"/>
          <ac:picMkLst>
            <pc:docMk/>
            <pc:sldMk cId="2344577898" sldId="280"/>
            <ac:picMk id="3" creationId="{AD5204D8-06D9-5C63-C883-E9A0A56BC58D}"/>
          </ac:picMkLst>
        </pc:picChg>
        <pc:picChg chg="add del mod">
          <ac:chgData name="Mao, Ted" userId="S::tedmao@marshall.usc.edu::aba2bfce-aa2c-4000-9d46-fb843e632a65" providerId="AD" clId="Web-{4714325C-5450-899C-B616-B4C5AF7CA027}" dt="2024-12-05T02:29:27.747" v="22"/>
          <ac:picMkLst>
            <pc:docMk/>
            <pc:sldMk cId="2344577898" sldId="280"/>
            <ac:picMk id="4" creationId="{DA90E6D1-C7CF-7D61-C413-3BC63932A86B}"/>
          </ac:picMkLst>
        </pc:picChg>
        <pc:picChg chg="add del mod">
          <ac:chgData name="Mao, Ted" userId="S::tedmao@marshall.usc.edu::aba2bfce-aa2c-4000-9d46-fb843e632a65" providerId="AD" clId="Web-{4714325C-5450-899C-B616-B4C5AF7CA027}" dt="2024-12-05T02:30:18.139" v="26"/>
          <ac:picMkLst>
            <pc:docMk/>
            <pc:sldMk cId="2344577898" sldId="280"/>
            <ac:picMk id="5" creationId="{07085762-239F-DE44-4B12-7C6E34F6E4B7}"/>
          </ac:picMkLst>
        </pc:picChg>
        <pc:picChg chg="add del mod">
          <ac:chgData name="Mao, Ted" userId="S::tedmao@marshall.usc.edu::aba2bfce-aa2c-4000-9d46-fb843e632a65" providerId="AD" clId="Web-{4714325C-5450-899C-B616-B4C5AF7CA027}" dt="2024-12-05T02:46:48.911" v="60"/>
          <ac:picMkLst>
            <pc:docMk/>
            <pc:sldMk cId="2344577898" sldId="280"/>
            <ac:picMk id="6" creationId="{1644FF1F-3EBD-455F-F2ED-272919A1ADA0}"/>
          </ac:picMkLst>
        </pc:picChg>
        <pc:picChg chg="add mod">
          <ac:chgData name="Mao, Ted" userId="S::tedmao@marshall.usc.edu::aba2bfce-aa2c-4000-9d46-fb843e632a65" providerId="AD" clId="Web-{4714325C-5450-899C-B616-B4C5AF7CA027}" dt="2024-12-05T02:30:25.343" v="29" actId="14100"/>
          <ac:picMkLst>
            <pc:docMk/>
            <pc:sldMk cId="2344577898" sldId="280"/>
            <ac:picMk id="7" creationId="{3BE54AF6-CD5A-5FE9-4E42-D1E9A28C7716}"/>
          </ac:picMkLst>
        </pc:picChg>
        <pc:picChg chg="add mod">
          <ac:chgData name="Mao, Ted" userId="S::tedmao@marshall.usc.edu::aba2bfce-aa2c-4000-9d46-fb843e632a65" providerId="AD" clId="Web-{4714325C-5450-899C-B616-B4C5AF7CA027}" dt="2024-12-05T02:47:07.958" v="64" actId="14100"/>
          <ac:picMkLst>
            <pc:docMk/>
            <pc:sldMk cId="2344577898" sldId="280"/>
            <ac:picMk id="9" creationId="{CE26AA69-12E5-3FD0-DBC0-296EE6751A12}"/>
          </ac:picMkLst>
        </pc:picChg>
      </pc:sldChg>
    </pc:docChg>
  </pc:docChgLst>
  <pc:docChgLst>
    <pc:chgData name="ishadesh@usc.edu" userId="S::urn:spo:guest#ishadesh@usc.edu::" providerId="AD" clId="Web-{A87F7AD5-4E7E-2CF1-9D20-2A19A9CAA5F2}"/>
    <pc:docChg chg="addSld delSld modSld">
      <pc:chgData name="ishadesh@usc.edu" userId="S::urn:spo:guest#ishadesh@usc.edu::" providerId="AD" clId="Web-{A87F7AD5-4E7E-2CF1-9D20-2A19A9CAA5F2}" dt="2024-12-05T02:36:28.161" v="438" actId="14100"/>
      <pc:docMkLst>
        <pc:docMk/>
      </pc:docMkLst>
      <pc:sldChg chg="modSp">
        <pc:chgData name="ishadesh@usc.edu" userId="S::urn:spo:guest#ishadesh@usc.edu::" providerId="AD" clId="Web-{A87F7AD5-4E7E-2CF1-9D20-2A19A9CAA5F2}" dt="2024-12-05T01:09:07.306" v="32" actId="20577"/>
        <pc:sldMkLst>
          <pc:docMk/>
          <pc:sldMk cId="0" sldId="258"/>
        </pc:sldMkLst>
        <pc:spChg chg="mod">
          <ac:chgData name="ishadesh@usc.edu" userId="S::urn:spo:guest#ishadesh@usc.edu::" providerId="AD" clId="Web-{A87F7AD5-4E7E-2CF1-9D20-2A19A9CAA5F2}" dt="2024-12-05T01:09:07.306" v="32" actId="20577"/>
          <ac:spMkLst>
            <pc:docMk/>
            <pc:sldMk cId="0" sldId="258"/>
            <ac:spMk id="177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08:43.633" v="31" actId="20577"/>
          <ac:spMkLst>
            <pc:docMk/>
            <pc:sldMk cId="0" sldId="258"/>
            <ac:spMk id="182" creationId="{00000000-0000-0000-0000-000000000000}"/>
          </ac:spMkLst>
        </pc:spChg>
      </pc:sldChg>
      <pc:sldChg chg="addSp modSp">
        <pc:chgData name="ishadesh@usc.edu" userId="S::urn:spo:guest#ishadesh@usc.edu::" providerId="AD" clId="Web-{A87F7AD5-4E7E-2CF1-9D20-2A19A9CAA5F2}" dt="2024-12-05T01:44:14.563" v="306" actId="20577"/>
        <pc:sldMkLst>
          <pc:docMk/>
          <pc:sldMk cId="0" sldId="262"/>
        </pc:sldMkLst>
        <pc:spChg chg="add mod">
          <ac:chgData name="ishadesh@usc.edu" userId="S::urn:spo:guest#ishadesh@usc.edu::" providerId="AD" clId="Web-{A87F7AD5-4E7E-2CF1-9D20-2A19A9CAA5F2}" dt="2024-12-05T01:44:14.563" v="306" actId="20577"/>
          <ac:spMkLst>
            <pc:docMk/>
            <pc:sldMk cId="0" sldId="262"/>
            <ac:spMk id="5" creationId="{3F6F0AEC-FFB3-A023-EF8D-07E8D18C67F3}"/>
          </ac:spMkLst>
        </pc:spChg>
        <pc:spChg chg="add mod">
          <ac:chgData name="ishadesh@usc.edu" userId="S::urn:spo:guest#ishadesh@usc.edu::" providerId="AD" clId="Web-{A87F7AD5-4E7E-2CF1-9D20-2A19A9CAA5F2}" dt="2024-12-05T01:43:29.981" v="264" actId="20577"/>
          <ac:spMkLst>
            <pc:docMk/>
            <pc:sldMk cId="0" sldId="262"/>
            <ac:spMk id="6" creationId="{BF3CA0E6-1471-A23D-9161-1BE0747A885E}"/>
          </ac:spMkLst>
        </pc:spChg>
        <pc:spChg chg="add mod">
          <ac:chgData name="ishadesh@usc.edu" userId="S::urn:spo:guest#ishadesh@usc.edu::" providerId="AD" clId="Web-{A87F7AD5-4E7E-2CF1-9D20-2A19A9CAA5F2}" dt="2024-12-05T01:44:01.749" v="290" actId="20577"/>
          <ac:spMkLst>
            <pc:docMk/>
            <pc:sldMk cId="0" sldId="262"/>
            <ac:spMk id="7" creationId="{A9B380B6-64F0-BC62-5FB7-38C65EFBFD70}"/>
          </ac:spMkLst>
        </pc:spChg>
        <pc:spChg chg="mod">
          <ac:chgData name="ishadesh@usc.edu" userId="S::urn:spo:guest#ishadesh@usc.edu::" providerId="AD" clId="Web-{A87F7AD5-4E7E-2CF1-9D20-2A19A9CAA5F2}" dt="2024-12-05T01:18:00.280" v="82"/>
          <ac:spMkLst>
            <pc:docMk/>
            <pc:sldMk cId="0" sldId="262"/>
            <ac:spMk id="232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7:33.154" v="80" actId="20577"/>
          <ac:spMkLst>
            <pc:docMk/>
            <pc:sldMk cId="0" sldId="262"/>
            <ac:spMk id="233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7:15.606" v="74" actId="20577"/>
          <ac:spMkLst>
            <pc:docMk/>
            <pc:sldMk cId="0" sldId="262"/>
            <ac:spMk id="234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7:19.684" v="76" actId="20577"/>
          <ac:spMkLst>
            <pc:docMk/>
            <pc:sldMk cId="0" sldId="262"/>
            <ac:spMk id="235" creationId="{00000000-0000-0000-0000-000000000000}"/>
          </ac:spMkLst>
        </pc:spChg>
      </pc:sldChg>
      <pc:sldChg chg="addSp delSp modSp">
        <pc:chgData name="ishadesh@usc.edu" userId="S::urn:spo:guest#ishadesh@usc.edu::" providerId="AD" clId="Web-{A87F7AD5-4E7E-2CF1-9D20-2A19A9CAA5F2}" dt="2024-12-05T01:45:50.242" v="349" actId="20577"/>
        <pc:sldMkLst>
          <pc:docMk/>
          <pc:sldMk cId="0" sldId="263"/>
        </pc:sldMkLst>
        <pc:spChg chg="add del">
          <ac:chgData name="ishadesh@usc.edu" userId="S::urn:spo:guest#ishadesh@usc.edu::" providerId="AD" clId="Web-{A87F7AD5-4E7E-2CF1-9D20-2A19A9CAA5F2}" dt="2024-12-05T01:44:30.939" v="308"/>
          <ac:spMkLst>
            <pc:docMk/>
            <pc:sldMk cId="0" sldId="263"/>
            <ac:spMk id="4" creationId="{1D2AE5FE-294E-84DD-15FA-C41D5C0D74A2}"/>
          </ac:spMkLst>
        </pc:spChg>
        <pc:spChg chg="add mod">
          <ac:chgData name="ishadesh@usc.edu" userId="S::urn:spo:guest#ishadesh@usc.edu::" providerId="AD" clId="Web-{A87F7AD5-4E7E-2CF1-9D20-2A19A9CAA5F2}" dt="2024-12-05T01:45:12.489" v="335" actId="1076"/>
          <ac:spMkLst>
            <pc:docMk/>
            <pc:sldMk cId="0" sldId="263"/>
            <ac:spMk id="5" creationId="{4F870831-31C6-BF5A-25DB-156C7ACA464B}"/>
          </ac:spMkLst>
        </pc:spChg>
        <pc:spChg chg="add mod">
          <ac:chgData name="ishadesh@usc.edu" userId="S::urn:spo:guest#ishadesh@usc.edu::" providerId="AD" clId="Web-{A87F7AD5-4E7E-2CF1-9D20-2A19A9CAA5F2}" dt="2024-12-05T01:45:50.242" v="349" actId="20577"/>
          <ac:spMkLst>
            <pc:docMk/>
            <pc:sldMk cId="0" sldId="263"/>
            <ac:spMk id="6" creationId="{621DAF1D-0169-4777-1DB9-C579F372EEBB}"/>
          </ac:spMkLst>
        </pc:spChg>
        <pc:spChg chg="mod">
          <ac:chgData name="ishadesh@usc.edu" userId="S::urn:spo:guest#ishadesh@usc.edu::" providerId="AD" clId="Web-{A87F7AD5-4E7E-2CF1-9D20-2A19A9CAA5F2}" dt="2024-12-05T01:18:23.015" v="90"/>
          <ac:spMkLst>
            <pc:docMk/>
            <pc:sldMk cId="0" sldId="263"/>
            <ac:spMk id="243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8:09.077" v="84" actId="20577"/>
          <ac:spMkLst>
            <pc:docMk/>
            <pc:sldMk cId="0" sldId="263"/>
            <ac:spMk id="245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8:13.546" v="86" actId="20577"/>
          <ac:spMkLst>
            <pc:docMk/>
            <pc:sldMk cId="0" sldId="263"/>
            <ac:spMk id="246" creationId="{00000000-0000-0000-0000-000000000000}"/>
          </ac:spMkLst>
        </pc:spChg>
        <pc:spChg chg="del mod">
          <ac:chgData name="ishadesh@usc.edu" userId="S::urn:spo:guest#ishadesh@usc.edu::" providerId="AD" clId="Web-{A87F7AD5-4E7E-2CF1-9D20-2A19A9CAA5F2}" dt="2024-12-05T01:43:11.652" v="250"/>
          <ac:spMkLst>
            <pc:docMk/>
            <pc:sldMk cId="0" sldId="263"/>
            <ac:spMk id="247" creationId="{00000000-0000-0000-0000-000000000000}"/>
          </ac:spMkLst>
        </pc:spChg>
        <pc:picChg chg="add mod">
          <ac:chgData name="ishadesh@usc.edu" userId="S::urn:spo:guest#ishadesh@usc.edu::" providerId="AD" clId="Web-{A87F7AD5-4E7E-2CF1-9D20-2A19A9CAA5F2}" dt="2024-12-05T01:42:36.618" v="246" actId="1076"/>
          <ac:picMkLst>
            <pc:docMk/>
            <pc:sldMk cId="0" sldId="263"/>
            <ac:picMk id="2" creationId="{94A6B310-742A-94E5-11A3-DE93C3951EF4}"/>
          </ac:picMkLst>
        </pc:picChg>
        <pc:picChg chg="add mod">
          <ac:chgData name="ishadesh@usc.edu" userId="S::urn:spo:guest#ishadesh@usc.edu::" providerId="AD" clId="Web-{A87F7AD5-4E7E-2CF1-9D20-2A19A9CAA5F2}" dt="2024-12-05T01:45:38.850" v="339" actId="14100"/>
          <ac:picMkLst>
            <pc:docMk/>
            <pc:sldMk cId="0" sldId="263"/>
            <ac:picMk id="3" creationId="{161A8DCB-E6AA-76A5-ACE7-8620B466DD5F}"/>
          </ac:picMkLst>
        </pc:picChg>
        <pc:picChg chg="del">
          <ac:chgData name="ishadesh@usc.edu" userId="S::urn:spo:guest#ishadesh@usc.edu::" providerId="AD" clId="Web-{A87F7AD5-4E7E-2CF1-9D20-2A19A9CAA5F2}" dt="2024-12-05T01:41:54.052" v="242"/>
          <ac:picMkLst>
            <pc:docMk/>
            <pc:sldMk cId="0" sldId="263"/>
            <ac:picMk id="248" creationId="{00000000-0000-0000-0000-000000000000}"/>
          </ac:picMkLst>
        </pc:picChg>
        <pc:picChg chg="del">
          <ac:chgData name="ishadesh@usc.edu" userId="S::urn:spo:guest#ishadesh@usc.edu::" providerId="AD" clId="Web-{A87F7AD5-4E7E-2CF1-9D20-2A19A9CAA5F2}" dt="2024-12-05T01:41:56.240" v="243"/>
          <ac:picMkLst>
            <pc:docMk/>
            <pc:sldMk cId="0" sldId="263"/>
            <ac:picMk id="249" creationId="{00000000-0000-0000-0000-000000000000}"/>
          </ac:picMkLst>
        </pc:picChg>
        <pc:picChg chg="del">
          <ac:chgData name="ishadesh@usc.edu" userId="S::urn:spo:guest#ishadesh@usc.edu::" providerId="AD" clId="Web-{A87F7AD5-4E7E-2CF1-9D20-2A19A9CAA5F2}" dt="2024-12-05T01:41:58.115" v="244"/>
          <ac:picMkLst>
            <pc:docMk/>
            <pc:sldMk cId="0" sldId="263"/>
            <ac:picMk id="250" creationId="{00000000-0000-0000-0000-000000000000}"/>
          </ac:picMkLst>
        </pc:picChg>
      </pc:sldChg>
      <pc:sldChg chg="modSp">
        <pc:chgData name="ishadesh@usc.edu" userId="S::urn:spo:guest#ishadesh@usc.edu::" providerId="AD" clId="Web-{A87F7AD5-4E7E-2CF1-9D20-2A19A9CAA5F2}" dt="2024-12-05T01:18:32.969" v="91"/>
        <pc:sldMkLst>
          <pc:docMk/>
          <pc:sldMk cId="0" sldId="264"/>
        </pc:sldMkLst>
        <pc:spChg chg="mod">
          <ac:chgData name="ishadesh@usc.edu" userId="S::urn:spo:guest#ishadesh@usc.edu::" providerId="AD" clId="Web-{A87F7AD5-4E7E-2CF1-9D20-2A19A9CAA5F2}" dt="2024-12-05T01:18:32.969" v="91"/>
          <ac:spMkLst>
            <pc:docMk/>
            <pc:sldMk cId="0" sldId="264"/>
            <ac:spMk id="257" creationId="{00000000-0000-0000-0000-000000000000}"/>
          </ac:spMkLst>
        </pc:spChg>
      </pc:sldChg>
      <pc:sldChg chg="modSp">
        <pc:chgData name="ishadesh@usc.edu" userId="S::urn:spo:guest#ishadesh@usc.edu::" providerId="AD" clId="Web-{A87F7AD5-4E7E-2CF1-9D20-2A19A9CAA5F2}" dt="2024-12-05T01:18:41.610" v="93"/>
        <pc:sldMkLst>
          <pc:docMk/>
          <pc:sldMk cId="0" sldId="265"/>
        </pc:sldMkLst>
        <pc:spChg chg="mod">
          <ac:chgData name="ishadesh@usc.edu" userId="S::urn:spo:guest#ishadesh@usc.edu::" providerId="AD" clId="Web-{A87F7AD5-4E7E-2CF1-9D20-2A19A9CAA5F2}" dt="2024-12-05T01:07:53.865" v="28"/>
          <ac:spMkLst>
            <pc:docMk/>
            <pc:sldMk cId="0" sldId="265"/>
            <ac:spMk id="272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8:41.610" v="93"/>
          <ac:spMkLst>
            <pc:docMk/>
            <pc:sldMk cId="0" sldId="265"/>
            <ac:spMk id="273" creationId="{00000000-0000-0000-0000-000000000000}"/>
          </ac:spMkLst>
        </pc:spChg>
      </pc:sldChg>
      <pc:sldChg chg="addSp delSp modSp">
        <pc:chgData name="ishadesh@usc.edu" userId="S::urn:spo:guest#ishadesh@usc.edu::" providerId="AD" clId="Web-{A87F7AD5-4E7E-2CF1-9D20-2A19A9CAA5F2}" dt="2024-12-05T02:32:24.513" v="409" actId="20577"/>
        <pc:sldMkLst>
          <pc:docMk/>
          <pc:sldMk cId="0" sldId="266"/>
        </pc:sldMkLst>
        <pc:spChg chg="mod">
          <ac:chgData name="ishadesh@usc.edu" userId="S::urn:spo:guest#ishadesh@usc.edu::" providerId="AD" clId="Web-{A87F7AD5-4E7E-2CF1-9D20-2A19A9CAA5F2}" dt="2024-12-05T02:32:24.513" v="409" actId="20577"/>
          <ac:spMkLst>
            <pc:docMk/>
            <pc:sldMk cId="0" sldId="266"/>
            <ac:spMk id="288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2:31:45.277" v="400" actId="20577"/>
          <ac:spMkLst>
            <pc:docMk/>
            <pc:sldMk cId="0" sldId="266"/>
            <ac:spMk id="290" creationId="{00000000-0000-0000-0000-000000000000}"/>
          </ac:spMkLst>
        </pc:spChg>
        <pc:picChg chg="add del mod">
          <ac:chgData name="ishadesh@usc.edu" userId="S::urn:spo:guest#ishadesh@usc.edu::" providerId="AD" clId="Web-{A87F7AD5-4E7E-2CF1-9D20-2A19A9CAA5F2}" dt="2024-12-05T02:17:50.954" v="373"/>
          <ac:picMkLst>
            <pc:docMk/>
            <pc:sldMk cId="0" sldId="266"/>
            <ac:picMk id="2" creationId="{A6CED8AB-4A95-125D-F894-F2CE978373ED}"/>
          </ac:picMkLst>
        </pc:picChg>
        <pc:picChg chg="add del mod">
          <ac:chgData name="ishadesh@usc.edu" userId="S::urn:spo:guest#ishadesh@usc.edu::" providerId="AD" clId="Web-{A87F7AD5-4E7E-2CF1-9D20-2A19A9CAA5F2}" dt="2024-12-05T02:17:49.376" v="372"/>
          <ac:picMkLst>
            <pc:docMk/>
            <pc:sldMk cId="0" sldId="266"/>
            <ac:picMk id="3" creationId="{2BF5113D-8759-83E6-EFD8-722C0A7E6F26}"/>
          </ac:picMkLst>
        </pc:picChg>
        <pc:picChg chg="add del mod">
          <ac:chgData name="ishadesh@usc.edu" userId="S::urn:spo:guest#ishadesh@usc.edu::" providerId="AD" clId="Web-{A87F7AD5-4E7E-2CF1-9D20-2A19A9CAA5F2}" dt="2024-12-05T02:32:13.012" v="402"/>
          <ac:picMkLst>
            <pc:docMk/>
            <pc:sldMk cId="0" sldId="266"/>
            <ac:picMk id="4" creationId="{D0194FC4-24CB-B5ED-4CB2-D793641A56AD}"/>
          </ac:picMkLst>
        </pc:picChg>
        <pc:picChg chg="add mod">
          <ac:chgData name="ishadesh@usc.edu" userId="S::urn:spo:guest#ishadesh@usc.edu::" providerId="AD" clId="Web-{A87F7AD5-4E7E-2CF1-9D20-2A19A9CAA5F2}" dt="2024-12-05T02:32:19.606" v="405" actId="1076"/>
          <ac:picMkLst>
            <pc:docMk/>
            <pc:sldMk cId="0" sldId="266"/>
            <ac:picMk id="5" creationId="{814A7B24-5C5A-D86A-FDA2-914302CDD86B}"/>
          </ac:picMkLst>
        </pc:picChg>
      </pc:sldChg>
      <pc:sldChg chg="addSp delSp modSp">
        <pc:chgData name="ishadesh@usc.edu" userId="S::urn:spo:guest#ishadesh@usc.edu::" providerId="AD" clId="Web-{A87F7AD5-4E7E-2CF1-9D20-2A19A9CAA5F2}" dt="2024-12-05T02:36:28.161" v="438" actId="14100"/>
        <pc:sldMkLst>
          <pc:docMk/>
          <pc:sldMk cId="0" sldId="267"/>
        </pc:sldMkLst>
        <pc:spChg chg="add mod">
          <ac:chgData name="ishadesh@usc.edu" userId="S::urn:spo:guest#ishadesh@usc.edu::" providerId="AD" clId="Web-{A87F7AD5-4E7E-2CF1-9D20-2A19A9CAA5F2}" dt="2024-12-05T02:36:28.161" v="438" actId="14100"/>
          <ac:spMkLst>
            <pc:docMk/>
            <pc:sldMk cId="0" sldId="267"/>
            <ac:spMk id="3" creationId="{1B496C04-20B9-034E-3D79-6D045F0A6B74}"/>
          </ac:spMkLst>
        </pc:spChg>
        <pc:spChg chg="mod">
          <ac:chgData name="ishadesh@usc.edu" userId="S::urn:spo:guest#ishadesh@usc.edu::" providerId="AD" clId="Web-{A87F7AD5-4E7E-2CF1-9D20-2A19A9CAA5F2}" dt="2024-12-05T02:32:29.622" v="411" actId="20577"/>
          <ac:spMkLst>
            <pc:docMk/>
            <pc:sldMk cId="0" sldId="267"/>
            <ac:spMk id="299" creationId="{00000000-0000-0000-0000-000000000000}"/>
          </ac:spMkLst>
        </pc:spChg>
        <pc:spChg chg="del mod">
          <ac:chgData name="ishadesh@usc.edu" userId="S::urn:spo:guest#ishadesh@usc.edu::" providerId="AD" clId="Web-{A87F7AD5-4E7E-2CF1-9D20-2A19A9CAA5F2}" dt="2024-12-05T02:33:01.842" v="417"/>
          <ac:spMkLst>
            <pc:docMk/>
            <pc:sldMk cId="0" sldId="267"/>
            <ac:spMk id="301" creationId="{00000000-0000-0000-0000-000000000000}"/>
          </ac:spMkLst>
        </pc:spChg>
        <pc:picChg chg="add del mod">
          <ac:chgData name="ishadesh@usc.edu" userId="S::urn:spo:guest#ishadesh@usc.edu::" providerId="AD" clId="Web-{A87F7AD5-4E7E-2CF1-9D20-2A19A9CAA5F2}" dt="2024-12-05T02:32:35.294" v="414"/>
          <ac:picMkLst>
            <pc:docMk/>
            <pc:sldMk cId="0" sldId="267"/>
            <ac:picMk id="2" creationId="{529D3C09-1E93-DC54-589D-C21AD2176A68}"/>
          </ac:picMkLst>
        </pc:picChg>
      </pc:sldChg>
      <pc:sldChg chg="modSp">
        <pc:chgData name="ishadesh@usc.edu" userId="S::urn:spo:guest#ishadesh@usc.edu::" providerId="AD" clId="Web-{A87F7AD5-4E7E-2CF1-9D20-2A19A9CAA5F2}" dt="2024-12-05T01:19:02.954" v="98" actId="20577"/>
        <pc:sldMkLst>
          <pc:docMk/>
          <pc:sldMk cId="0" sldId="268"/>
        </pc:sldMkLst>
        <pc:spChg chg="mod">
          <ac:chgData name="ishadesh@usc.edu" userId="S::urn:spo:guest#ishadesh@usc.edu::" providerId="AD" clId="Web-{A87F7AD5-4E7E-2CF1-9D20-2A19A9CAA5F2}" dt="2024-12-05T01:18:51.110" v="94"/>
          <ac:spMkLst>
            <pc:docMk/>
            <pc:sldMk cId="0" sldId="268"/>
            <ac:spMk id="310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00.032" v="96" actId="20577"/>
          <ac:spMkLst>
            <pc:docMk/>
            <pc:sldMk cId="0" sldId="268"/>
            <ac:spMk id="311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02.954" v="98" actId="20577"/>
          <ac:spMkLst>
            <pc:docMk/>
            <pc:sldMk cId="0" sldId="268"/>
            <ac:spMk id="312" creationId="{00000000-0000-0000-0000-000000000000}"/>
          </ac:spMkLst>
        </pc:spChg>
      </pc:sldChg>
      <pc:sldChg chg="modSp">
        <pc:chgData name="ishadesh@usc.edu" userId="S::urn:spo:guest#ishadesh@usc.edu::" providerId="AD" clId="Web-{A87F7AD5-4E7E-2CF1-9D20-2A19A9CAA5F2}" dt="2024-12-05T01:19:23.830" v="103"/>
        <pc:sldMkLst>
          <pc:docMk/>
          <pc:sldMk cId="0" sldId="269"/>
        </pc:sldMkLst>
        <pc:spChg chg="mod">
          <ac:chgData name="ishadesh@usc.edu" userId="S::urn:spo:guest#ishadesh@usc.edu::" providerId="AD" clId="Web-{A87F7AD5-4E7E-2CF1-9D20-2A19A9CAA5F2}" dt="2024-12-05T01:19:23.830" v="103"/>
          <ac:spMkLst>
            <pc:docMk/>
            <pc:sldMk cId="0" sldId="269"/>
            <ac:spMk id="321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13.720" v="100" actId="20577"/>
          <ac:spMkLst>
            <pc:docMk/>
            <pc:sldMk cId="0" sldId="269"/>
            <ac:spMk id="322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19.299" v="102" actId="20577"/>
          <ac:spMkLst>
            <pc:docMk/>
            <pc:sldMk cId="0" sldId="269"/>
            <ac:spMk id="323" creationId="{00000000-0000-0000-0000-000000000000}"/>
          </ac:spMkLst>
        </pc:spChg>
      </pc:sldChg>
      <pc:sldChg chg="delSp modSp del">
        <pc:chgData name="ishadesh@usc.edu" userId="S::urn:spo:guest#ishadesh@usc.edu::" providerId="AD" clId="Web-{A87F7AD5-4E7E-2CF1-9D20-2A19A9CAA5F2}" dt="2024-12-05T01:20:57.209" v="116"/>
        <pc:sldMkLst>
          <pc:docMk/>
          <pc:sldMk cId="0" sldId="270"/>
        </pc:sldMkLst>
        <pc:spChg chg="mod">
          <ac:chgData name="ishadesh@usc.edu" userId="S::urn:spo:guest#ishadesh@usc.edu::" providerId="AD" clId="Web-{A87F7AD5-4E7E-2CF1-9D20-2A19A9CAA5F2}" dt="2024-12-05T01:19:48.893" v="109"/>
          <ac:spMkLst>
            <pc:docMk/>
            <pc:sldMk cId="0" sldId="270"/>
            <ac:spMk id="334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43.065" v="108" actId="20577"/>
          <ac:spMkLst>
            <pc:docMk/>
            <pc:sldMk cId="0" sldId="270"/>
            <ac:spMk id="335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19:39.284" v="105" actId="20577"/>
          <ac:spMkLst>
            <pc:docMk/>
            <pc:sldMk cId="0" sldId="270"/>
            <ac:spMk id="336" creationId="{00000000-0000-0000-0000-000000000000}"/>
          </ac:spMkLst>
        </pc:spChg>
        <pc:spChg chg="del">
          <ac:chgData name="ishadesh@usc.edu" userId="S::urn:spo:guest#ishadesh@usc.edu::" providerId="AD" clId="Web-{A87F7AD5-4E7E-2CF1-9D20-2A19A9CAA5F2}" dt="2024-12-05T01:19:40.831" v="106"/>
          <ac:spMkLst>
            <pc:docMk/>
            <pc:sldMk cId="0" sldId="270"/>
            <ac:spMk id="337" creationId="{00000000-0000-0000-0000-000000000000}"/>
          </ac:spMkLst>
        </pc:spChg>
      </pc:sldChg>
      <pc:sldChg chg="modSp del">
        <pc:chgData name="ishadesh@usc.edu" userId="S::urn:spo:guest#ishadesh@usc.edu::" providerId="AD" clId="Web-{A87F7AD5-4E7E-2CF1-9D20-2A19A9CAA5F2}" dt="2024-12-05T01:20:55.162" v="115"/>
        <pc:sldMkLst>
          <pc:docMk/>
          <pc:sldMk cId="0" sldId="271"/>
        </pc:sldMkLst>
        <pc:spChg chg="mod">
          <ac:chgData name="ishadesh@usc.edu" userId="S::urn:spo:guest#ishadesh@usc.edu::" providerId="AD" clId="Web-{A87F7AD5-4E7E-2CF1-9D20-2A19A9CAA5F2}" dt="2024-12-05T01:20:45.318" v="114"/>
          <ac:spMkLst>
            <pc:docMk/>
            <pc:sldMk cId="0" sldId="271"/>
            <ac:spMk id="346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20:38.380" v="111" actId="20577"/>
          <ac:spMkLst>
            <pc:docMk/>
            <pc:sldMk cId="0" sldId="271"/>
            <ac:spMk id="347" creationId="{00000000-0000-0000-0000-000000000000}"/>
          </ac:spMkLst>
        </pc:spChg>
        <pc:spChg chg="mod">
          <ac:chgData name="ishadesh@usc.edu" userId="S::urn:spo:guest#ishadesh@usc.edu::" providerId="AD" clId="Web-{A87F7AD5-4E7E-2CF1-9D20-2A19A9CAA5F2}" dt="2024-12-05T01:20:42.396" v="113" actId="20577"/>
          <ac:spMkLst>
            <pc:docMk/>
            <pc:sldMk cId="0" sldId="271"/>
            <ac:spMk id="348" creationId="{00000000-0000-0000-0000-000000000000}"/>
          </ac:spMkLst>
        </pc:spChg>
      </pc:sldChg>
      <pc:sldChg chg="addSp delSp modSp add replId">
        <pc:chgData name="ishadesh@usc.edu" userId="S::urn:spo:guest#ishadesh@usc.edu::" providerId="AD" clId="Web-{A87F7AD5-4E7E-2CF1-9D20-2A19A9CAA5F2}" dt="2024-12-05T01:46:54.028" v="364" actId="14100"/>
        <pc:sldMkLst>
          <pc:docMk/>
          <pc:sldMk cId="2813037161" sldId="278"/>
        </pc:sldMkLst>
        <pc:spChg chg="del mod">
          <ac:chgData name="ishadesh@usc.edu" userId="S::urn:spo:guest#ishadesh@usc.edu::" providerId="AD" clId="Web-{A87F7AD5-4E7E-2CF1-9D20-2A19A9CAA5F2}" dt="2024-12-05T01:46:40.543" v="360"/>
          <ac:spMkLst>
            <pc:docMk/>
            <pc:sldMk cId="2813037161" sldId="278"/>
            <ac:spMk id="5" creationId="{4F870831-31C6-BF5A-25DB-156C7ACA464B}"/>
          </ac:spMkLst>
        </pc:spChg>
        <pc:spChg chg="del">
          <ac:chgData name="ishadesh@usc.edu" userId="S::urn:spo:guest#ishadesh@usc.edu::" providerId="AD" clId="Web-{A87F7AD5-4E7E-2CF1-9D20-2A19A9CAA5F2}" dt="2024-12-05T01:46:15.728" v="357"/>
          <ac:spMkLst>
            <pc:docMk/>
            <pc:sldMk cId="2813037161" sldId="278"/>
            <ac:spMk id="6" creationId="{621DAF1D-0169-4777-1DB9-C579F372EEBB}"/>
          </ac:spMkLst>
        </pc:spChg>
        <pc:picChg chg="del">
          <ac:chgData name="ishadesh@usc.edu" userId="S::urn:spo:guest#ishadesh@usc.edu::" providerId="AD" clId="Web-{A87F7AD5-4E7E-2CF1-9D20-2A19A9CAA5F2}" dt="2024-12-05T01:46:03.055" v="351"/>
          <ac:picMkLst>
            <pc:docMk/>
            <pc:sldMk cId="2813037161" sldId="278"/>
            <ac:picMk id="2" creationId="{94A6B310-742A-94E5-11A3-DE93C3951EF4}"/>
          </ac:picMkLst>
        </pc:picChg>
        <pc:picChg chg="del">
          <ac:chgData name="ishadesh@usc.edu" userId="S::urn:spo:guest#ishadesh@usc.edu::" providerId="AD" clId="Web-{A87F7AD5-4E7E-2CF1-9D20-2A19A9CAA5F2}" dt="2024-12-05T01:46:04.493" v="352"/>
          <ac:picMkLst>
            <pc:docMk/>
            <pc:sldMk cId="2813037161" sldId="278"/>
            <ac:picMk id="3" creationId="{161A8DCB-E6AA-76A5-ACE7-8620B466DD5F}"/>
          </ac:picMkLst>
        </pc:picChg>
        <pc:picChg chg="add mod">
          <ac:chgData name="ishadesh@usc.edu" userId="S::urn:spo:guest#ishadesh@usc.edu::" providerId="AD" clId="Web-{A87F7AD5-4E7E-2CF1-9D20-2A19A9CAA5F2}" dt="2024-12-05T01:46:54.028" v="364" actId="14100"/>
          <ac:picMkLst>
            <pc:docMk/>
            <pc:sldMk cId="2813037161" sldId="278"/>
            <ac:picMk id="4" creationId="{91E11C47-9801-6CBD-2221-618AB0C97104}"/>
          </ac:picMkLst>
        </pc:picChg>
      </pc:sldChg>
    </pc:docChg>
  </pc:docChgLst>
  <pc:docChgLst>
    <pc:chgData name="ishadesh@usc.edu" userId="S::urn:spo:guest#ishadesh@usc.edu::" providerId="AD" clId="Web-{14AD17F4-AA65-FE82-33E0-329C9D61FA32}"/>
    <pc:docChg chg="modSld">
      <pc:chgData name="ishadesh@usc.edu" userId="S::urn:spo:guest#ishadesh@usc.edu::" providerId="AD" clId="Web-{14AD17F4-AA65-FE82-33E0-329C9D61FA32}" dt="2024-12-05T01:36:41.110" v="29"/>
      <pc:docMkLst>
        <pc:docMk/>
      </pc:docMkLst>
      <pc:sldChg chg="addSp delSp modSp">
        <pc:chgData name="ishadesh@usc.edu" userId="S::urn:spo:guest#ishadesh@usc.edu::" providerId="AD" clId="Web-{14AD17F4-AA65-FE82-33E0-329C9D61FA32}" dt="2024-12-05T01:36:41.110" v="29"/>
        <pc:sldMkLst>
          <pc:docMk/>
          <pc:sldMk cId="0" sldId="262"/>
        </pc:sldMkLst>
        <pc:spChg chg="add del">
          <ac:chgData name="ishadesh@usc.edu" userId="S::urn:spo:guest#ishadesh@usc.edu::" providerId="AD" clId="Web-{14AD17F4-AA65-FE82-33E0-329C9D61FA32}" dt="2024-12-05T01:35:47.624" v="23"/>
          <ac:spMkLst>
            <pc:docMk/>
            <pc:sldMk cId="0" sldId="262"/>
            <ac:spMk id="5" creationId="{1D5AACAB-7094-988A-CA2A-FC16DFF57DBF}"/>
          </ac:spMkLst>
        </pc:spChg>
        <pc:spChg chg="add del">
          <ac:chgData name="ishadesh@usc.edu" userId="S::urn:spo:guest#ishadesh@usc.edu::" providerId="AD" clId="Web-{14AD17F4-AA65-FE82-33E0-329C9D61FA32}" dt="2024-12-05T01:35:49.905" v="25"/>
          <ac:spMkLst>
            <pc:docMk/>
            <pc:sldMk cId="0" sldId="262"/>
            <ac:spMk id="6" creationId="{1D5AACAB-7094-988A-CA2A-FC16DFF57DBF}"/>
          </ac:spMkLst>
        </pc:spChg>
        <pc:spChg chg="add del">
          <ac:chgData name="ishadesh@usc.edu" userId="S::urn:spo:guest#ishadesh@usc.edu::" providerId="AD" clId="Web-{14AD17F4-AA65-FE82-33E0-329C9D61FA32}" dt="2024-12-05T01:36:25.140" v="27"/>
          <ac:spMkLst>
            <pc:docMk/>
            <pc:sldMk cId="0" sldId="262"/>
            <ac:spMk id="7" creationId="{1E764828-1939-301D-2ECF-C05C4A33195B}"/>
          </ac:spMkLst>
        </pc:spChg>
        <pc:spChg chg="add del">
          <ac:chgData name="ishadesh@usc.edu" userId="S::urn:spo:guest#ishadesh@usc.edu::" providerId="AD" clId="Web-{14AD17F4-AA65-FE82-33E0-329C9D61FA32}" dt="2024-12-05T01:36:41.110" v="29"/>
          <ac:spMkLst>
            <pc:docMk/>
            <pc:sldMk cId="0" sldId="262"/>
            <ac:spMk id="8" creationId="{9BA96968-3447-4F3C-684D-748856F5DE5B}"/>
          </ac:spMkLst>
        </pc:spChg>
        <pc:spChg chg="del mod">
          <ac:chgData name="ishadesh@usc.edu" userId="S::urn:spo:guest#ishadesh@usc.edu::" providerId="AD" clId="Web-{14AD17F4-AA65-FE82-33E0-329C9D61FA32}" dt="2024-12-05T01:34:52.965" v="9"/>
          <ac:spMkLst>
            <pc:docMk/>
            <pc:sldMk cId="0" sldId="262"/>
            <ac:spMk id="236" creationId="{00000000-0000-0000-0000-000000000000}"/>
          </ac:spMkLst>
        </pc:spChg>
        <pc:picChg chg="add mod">
          <ac:chgData name="ishadesh@usc.edu" userId="S::urn:spo:guest#ishadesh@usc.edu::" providerId="AD" clId="Web-{14AD17F4-AA65-FE82-33E0-329C9D61FA32}" dt="2024-12-05T01:35:20.810" v="17" actId="1076"/>
          <ac:picMkLst>
            <pc:docMk/>
            <pc:sldMk cId="0" sldId="262"/>
            <ac:picMk id="2" creationId="{F67FB2E9-6185-B92C-D292-886DCB5E4F59}"/>
          </ac:picMkLst>
        </pc:picChg>
        <pc:picChg chg="add mod">
          <ac:chgData name="ishadesh@usc.edu" userId="S::urn:spo:guest#ishadesh@usc.edu::" providerId="AD" clId="Web-{14AD17F4-AA65-FE82-33E0-329C9D61FA32}" dt="2024-12-05T01:35:29.560" v="21" actId="1076"/>
          <ac:picMkLst>
            <pc:docMk/>
            <pc:sldMk cId="0" sldId="262"/>
            <ac:picMk id="3" creationId="{54831676-0849-7B06-E27D-424A0A2B928E}"/>
          </ac:picMkLst>
        </pc:picChg>
        <pc:picChg chg="add mod">
          <ac:chgData name="ishadesh@usc.edu" userId="S::urn:spo:guest#ishadesh@usc.edu::" providerId="AD" clId="Web-{14AD17F4-AA65-FE82-33E0-329C9D61FA32}" dt="2024-12-05T01:35:27.373" v="20" actId="1076"/>
          <ac:picMkLst>
            <pc:docMk/>
            <pc:sldMk cId="0" sldId="262"/>
            <ac:picMk id="4" creationId="{2FA435B9-1D73-CF8B-F16E-ECE889E4263A}"/>
          </ac:picMkLst>
        </pc:picChg>
        <pc:picChg chg="del">
          <ac:chgData name="ishadesh@usc.edu" userId="S::urn:spo:guest#ishadesh@usc.edu::" providerId="AD" clId="Web-{14AD17F4-AA65-FE82-33E0-329C9D61FA32}" dt="2024-12-05T01:32:49.899" v="4"/>
          <ac:picMkLst>
            <pc:docMk/>
            <pc:sldMk cId="0" sldId="262"/>
            <ac:picMk id="237" creationId="{00000000-0000-0000-0000-000000000000}"/>
          </ac:picMkLst>
        </pc:picChg>
      </pc:sldChg>
    </pc:docChg>
  </pc:docChgLst>
  <pc:docChgLst>
    <pc:chgData name="ishadesh@usc.edu" userId="S::urn:spo:guest#ishadesh@usc.edu::" providerId="AD" clId="Web-{0714A879-33EF-5835-BAA7-474D4BC79EF9}"/>
    <pc:docChg chg="modSld">
      <pc:chgData name="ishadesh@usc.edu" userId="S::urn:spo:guest#ishadesh@usc.edu::" providerId="AD" clId="Web-{0714A879-33EF-5835-BAA7-474D4BC79EF9}" dt="2024-12-05T00:59:29.485" v="35"/>
      <pc:docMkLst>
        <pc:docMk/>
      </pc:docMkLst>
      <pc:sldChg chg="addSp delSp modSp">
        <pc:chgData name="ishadesh@usc.edu" userId="S::urn:spo:guest#ishadesh@usc.edu::" providerId="AD" clId="Web-{0714A879-33EF-5835-BAA7-474D4BC79EF9}" dt="2024-12-05T00:37:01.108" v="6" actId="1076"/>
        <pc:sldMkLst>
          <pc:docMk/>
          <pc:sldMk cId="0" sldId="257"/>
        </pc:sldMkLst>
        <pc:picChg chg="add mod">
          <ac:chgData name="ishadesh@usc.edu" userId="S::urn:spo:guest#ishadesh@usc.edu::" providerId="AD" clId="Web-{0714A879-33EF-5835-BAA7-474D4BC79EF9}" dt="2024-12-05T00:37:01.108" v="6" actId="1076"/>
          <ac:picMkLst>
            <pc:docMk/>
            <pc:sldMk cId="0" sldId="257"/>
            <ac:picMk id="2" creationId="{99759667-F7ED-DB4D-AF9C-4A78E422E5E6}"/>
          </ac:picMkLst>
        </pc:picChg>
        <pc:picChg chg="del">
          <ac:chgData name="ishadesh@usc.edu" userId="S::urn:spo:guest#ishadesh@usc.edu::" providerId="AD" clId="Web-{0714A879-33EF-5835-BAA7-474D4BC79EF9}" dt="2024-12-05T00:36:49.920" v="1"/>
          <ac:picMkLst>
            <pc:docMk/>
            <pc:sldMk cId="0" sldId="257"/>
            <ac:picMk id="163" creationId="{00000000-0000-0000-0000-000000000000}"/>
          </ac:picMkLst>
        </pc:picChg>
      </pc:sldChg>
      <pc:sldChg chg="addSp delSp modSp">
        <pc:chgData name="ishadesh@usc.edu" userId="S::urn:spo:guest#ishadesh@usc.edu::" providerId="AD" clId="Web-{0714A879-33EF-5835-BAA7-474D4BC79EF9}" dt="2024-12-05T00:59:23.359" v="34"/>
        <pc:sldMkLst>
          <pc:docMk/>
          <pc:sldMk cId="0" sldId="266"/>
        </pc:sldMkLst>
        <pc:spChg chg="mod">
          <ac:chgData name="ishadesh@usc.edu" userId="S::urn:spo:guest#ishadesh@usc.edu::" providerId="AD" clId="Web-{0714A879-33EF-5835-BAA7-474D4BC79EF9}" dt="2024-12-05T00:56:02.486" v="21" actId="20577"/>
          <ac:spMkLst>
            <pc:docMk/>
            <pc:sldMk cId="0" sldId="266"/>
            <ac:spMk id="290" creationId="{00000000-0000-0000-0000-000000000000}"/>
          </ac:spMkLst>
        </pc:spChg>
        <pc:picChg chg="add del">
          <ac:chgData name="ishadesh@usc.edu" userId="S::urn:spo:guest#ishadesh@usc.edu::" providerId="AD" clId="Web-{0714A879-33EF-5835-BAA7-474D4BC79EF9}" dt="2024-12-05T00:59:23.359" v="34"/>
          <ac:picMkLst>
            <pc:docMk/>
            <pc:sldMk cId="0" sldId="266"/>
            <ac:picMk id="3" creationId="{DB9D4EA8-4956-900F-A8CD-7CFF5B6BA85C}"/>
          </ac:picMkLst>
        </pc:picChg>
        <pc:picChg chg="del">
          <ac:chgData name="ishadesh@usc.edu" userId="S::urn:spo:guest#ishadesh@usc.edu::" providerId="AD" clId="Web-{0714A879-33EF-5835-BAA7-474D4BC79EF9}" dt="2024-12-05T00:56:15.581" v="22"/>
          <ac:picMkLst>
            <pc:docMk/>
            <pc:sldMk cId="0" sldId="266"/>
            <ac:picMk id="291" creationId="{00000000-0000-0000-0000-000000000000}"/>
          </ac:picMkLst>
        </pc:picChg>
      </pc:sldChg>
      <pc:sldChg chg="delSp modSp">
        <pc:chgData name="ishadesh@usc.edu" userId="S::urn:spo:guest#ishadesh@usc.edu::" providerId="AD" clId="Web-{0714A879-33EF-5835-BAA7-474D4BC79EF9}" dt="2024-12-05T00:59:29.485" v="35"/>
        <pc:sldMkLst>
          <pc:docMk/>
          <pc:sldMk cId="0" sldId="267"/>
        </pc:sldMkLst>
        <pc:spChg chg="mod">
          <ac:chgData name="ishadesh@usc.edu" userId="S::urn:spo:guest#ishadesh@usc.edu::" providerId="AD" clId="Web-{0714A879-33EF-5835-BAA7-474D4BC79EF9}" dt="2024-12-05T00:59:06.468" v="31" actId="20577"/>
          <ac:spMkLst>
            <pc:docMk/>
            <pc:sldMk cId="0" sldId="267"/>
            <ac:spMk id="301" creationId="{00000000-0000-0000-0000-000000000000}"/>
          </ac:spMkLst>
        </pc:spChg>
        <pc:picChg chg="del">
          <ac:chgData name="ishadesh@usc.edu" userId="S::urn:spo:guest#ishadesh@usc.edu::" providerId="AD" clId="Web-{0714A879-33EF-5835-BAA7-474D4BC79EF9}" dt="2024-12-05T00:59:29.485" v="35"/>
          <ac:picMkLst>
            <pc:docMk/>
            <pc:sldMk cId="0" sldId="267"/>
            <ac:picMk id="302" creationId="{00000000-0000-0000-0000-000000000000}"/>
          </ac:picMkLst>
        </pc:picChg>
        <pc:picChg chg="del">
          <ac:chgData name="ishadesh@usc.edu" userId="S::urn:spo:guest#ishadesh@usc.edu::" providerId="AD" clId="Web-{0714A879-33EF-5835-BAA7-474D4BC79EF9}" dt="2024-12-05T00:59:11.202" v="32"/>
          <ac:picMkLst>
            <pc:docMk/>
            <pc:sldMk cId="0" sldId="267"/>
            <ac:picMk id="303" creationId="{00000000-0000-0000-0000-000000000000}"/>
          </ac:picMkLst>
        </pc:picChg>
      </pc:sldChg>
      <pc:sldChg chg="addSp modSp">
        <pc:chgData name="ishadesh@usc.edu" userId="S::urn:spo:guest#ishadesh@usc.edu::" providerId="AD" clId="Web-{0714A879-33EF-5835-BAA7-474D4BC79EF9}" dt="2024-12-05T00:37:51.096" v="9"/>
        <pc:sldMkLst>
          <pc:docMk/>
          <pc:sldMk cId="3007862779" sldId="276"/>
        </pc:sldMkLst>
        <pc:spChg chg="add mod">
          <ac:chgData name="ishadesh@usc.edu" userId="S::urn:spo:guest#ishadesh@usc.edu::" providerId="AD" clId="Web-{0714A879-33EF-5835-BAA7-474D4BC79EF9}" dt="2024-12-05T00:37:51.096" v="9"/>
          <ac:spMkLst>
            <pc:docMk/>
            <pc:sldMk cId="3007862779" sldId="276"/>
            <ac:spMk id="4" creationId="{AD806395-5952-9049-7910-4F7EE91AA0CB}"/>
          </ac:spMkLst>
        </pc:spChg>
        <pc:picChg chg="mod">
          <ac:chgData name="ishadesh@usc.edu" userId="S::urn:spo:guest#ishadesh@usc.edu::" providerId="AD" clId="Web-{0714A879-33EF-5835-BAA7-474D4BC79EF9}" dt="2024-12-05T00:37:51.081" v="8"/>
          <ac:picMkLst>
            <pc:docMk/>
            <pc:sldMk cId="3007862779" sldId="276"/>
            <ac:picMk id="172" creationId="{00000000-0000-0000-0000-000000000000}"/>
          </ac:picMkLst>
        </pc:picChg>
      </pc:sldChg>
    </pc:docChg>
  </pc:docChgLst>
  <pc:docChgLst>
    <pc:chgData name="Chichikin, Ivan" userId="S::chichiki@marshall.usc.edu::dc52fc8b-4cef-4598-bd5c-e63466a40d39" providerId="AD" clId="Web-{83EBB314-02FD-389E-D0F7-FD5FCCAFA424}"/>
    <pc:docChg chg="addSld delSld modSld sldOrd">
      <pc:chgData name="Chichikin, Ivan" userId="S::chichiki@marshall.usc.edu::dc52fc8b-4cef-4598-bd5c-e63466a40d39" providerId="AD" clId="Web-{83EBB314-02FD-389E-D0F7-FD5FCCAFA424}" dt="2024-12-05T02:50:42.716" v="122" actId="20577"/>
      <pc:docMkLst>
        <pc:docMk/>
      </pc:docMkLst>
      <pc:sldChg chg="addSp delSp modSp">
        <pc:chgData name="Chichikin, Ivan" userId="S::chichiki@marshall.usc.edu::dc52fc8b-4cef-4598-bd5c-e63466a40d39" providerId="AD" clId="Web-{83EBB314-02FD-389E-D0F7-FD5FCCAFA424}" dt="2024-12-05T02:20:56.248" v="3" actId="1076"/>
        <pc:sldMkLst>
          <pc:docMk/>
          <pc:sldMk cId="0" sldId="259"/>
        </pc:sldMkLst>
        <pc:picChg chg="add mod">
          <ac:chgData name="Chichikin, Ivan" userId="S::chichiki@marshall.usc.edu::dc52fc8b-4cef-4598-bd5c-e63466a40d39" providerId="AD" clId="Web-{83EBB314-02FD-389E-D0F7-FD5FCCAFA424}" dt="2024-12-05T02:20:56.248" v="3" actId="1076"/>
          <ac:picMkLst>
            <pc:docMk/>
            <pc:sldMk cId="0" sldId="259"/>
            <ac:picMk id="2" creationId="{F02D67F7-05DA-C444-ED9B-517A8BAE726A}"/>
          </ac:picMkLst>
        </pc:picChg>
        <pc:picChg chg="del">
          <ac:chgData name="Chichikin, Ivan" userId="S::chichiki@marshall.usc.edu::dc52fc8b-4cef-4598-bd5c-e63466a40d39" providerId="AD" clId="Web-{83EBB314-02FD-389E-D0F7-FD5FCCAFA424}" dt="2024-12-05T02:20:52.060" v="1"/>
          <ac:picMkLst>
            <pc:docMk/>
            <pc:sldMk cId="0" sldId="259"/>
            <ac:picMk id="196" creationId="{00000000-0000-0000-0000-000000000000}"/>
          </ac:picMkLst>
        </pc:picChg>
      </pc:sldChg>
      <pc:sldChg chg="del">
        <pc:chgData name="Chichikin, Ivan" userId="S::chichiki@marshall.usc.edu::dc52fc8b-4cef-4598-bd5c-e63466a40d39" providerId="AD" clId="Web-{83EBB314-02FD-389E-D0F7-FD5FCCAFA424}" dt="2024-12-05T02:22:37.458" v="5"/>
        <pc:sldMkLst>
          <pc:docMk/>
          <pc:sldMk cId="0" sldId="268"/>
        </pc:sldMkLst>
      </pc:sldChg>
      <pc:sldChg chg="del">
        <pc:chgData name="Chichikin, Ivan" userId="S::chichiki@marshall.usc.edu::dc52fc8b-4cef-4598-bd5c-e63466a40d39" providerId="AD" clId="Web-{83EBB314-02FD-389E-D0F7-FD5FCCAFA424}" dt="2024-12-05T02:22:39.536" v="6"/>
        <pc:sldMkLst>
          <pc:docMk/>
          <pc:sldMk cId="0" sldId="269"/>
        </pc:sldMkLst>
      </pc:sldChg>
      <pc:sldChg chg="del">
        <pc:chgData name="Chichikin, Ivan" userId="S::chichiki@marshall.usc.edu::dc52fc8b-4cef-4598-bd5c-e63466a40d39" providerId="AD" clId="Web-{83EBB314-02FD-389E-D0F7-FD5FCCAFA424}" dt="2024-12-05T02:29:43.976" v="48"/>
        <pc:sldMkLst>
          <pc:docMk/>
          <pc:sldMk cId="3007862779" sldId="276"/>
        </pc:sldMkLst>
      </pc:sldChg>
      <pc:sldChg chg="addSp modSp">
        <pc:chgData name="Chichikin, Ivan" userId="S::chichiki@marshall.usc.edu::dc52fc8b-4cef-4598-bd5c-e63466a40d39" providerId="AD" clId="Web-{83EBB314-02FD-389E-D0F7-FD5FCCAFA424}" dt="2024-12-05T02:41:14.272" v="96" actId="1076"/>
        <pc:sldMkLst>
          <pc:docMk/>
          <pc:sldMk cId="2344577898" sldId="280"/>
        </pc:sldMkLst>
        <pc:spChg chg="add mod">
          <ac:chgData name="Chichikin, Ivan" userId="S::chichiki@marshall.usc.edu::dc52fc8b-4cef-4598-bd5c-e63466a40d39" providerId="AD" clId="Web-{83EBB314-02FD-389E-D0F7-FD5FCCAFA424}" dt="2024-12-05T02:41:14.272" v="96" actId="1076"/>
          <ac:spMkLst>
            <pc:docMk/>
            <pc:sldMk cId="2344577898" sldId="280"/>
            <ac:spMk id="8" creationId="{0C549112-D82E-D4F8-C5D2-FA8D38C842DF}"/>
          </ac:spMkLst>
        </pc:spChg>
      </pc:sldChg>
      <pc:sldChg chg="addSp modSp add ord">
        <pc:chgData name="Chichikin, Ivan" userId="S::chichiki@marshall.usc.edu::dc52fc8b-4cef-4598-bd5c-e63466a40d39" providerId="AD" clId="Web-{83EBB314-02FD-389E-D0F7-FD5FCCAFA424}" dt="2024-12-05T02:37:25.539" v="71"/>
        <pc:sldMkLst>
          <pc:docMk/>
          <pc:sldMk cId="2061990562" sldId="281"/>
        </pc:sldMkLst>
        <pc:spChg chg="add mod">
          <ac:chgData name="Chichikin, Ivan" userId="S::chichiki@marshall.usc.edu::dc52fc8b-4cef-4598-bd5c-e63466a40d39" providerId="AD" clId="Web-{83EBB314-02FD-389E-D0F7-FD5FCCAFA424}" dt="2024-12-05T02:28:47.623" v="30" actId="1076"/>
          <ac:spMkLst>
            <pc:docMk/>
            <pc:sldMk cId="2061990562" sldId="281"/>
            <ac:spMk id="5" creationId="{5A9CEFD4-A50E-120A-387A-B9755A3DCFDB}"/>
          </ac:spMkLst>
        </pc:spChg>
        <pc:spChg chg="mod ord">
          <ac:chgData name="Chichikin, Ivan" userId="S::chichiki@marshall.usc.edu::dc52fc8b-4cef-4598-bd5c-e63466a40d39" providerId="AD" clId="Web-{83EBB314-02FD-389E-D0F7-FD5FCCAFA424}" dt="2024-12-05T02:29:32.517" v="47" actId="14100"/>
          <ac:spMkLst>
            <pc:docMk/>
            <pc:sldMk cId="2061990562" sldId="281"/>
            <ac:spMk id="188" creationId="{00000000-0000-0000-0000-000000000000}"/>
          </ac:spMkLst>
        </pc:spChg>
        <pc:spChg chg="mod">
          <ac:chgData name="Chichikin, Ivan" userId="S::chichiki@marshall.usc.edu::dc52fc8b-4cef-4598-bd5c-e63466a40d39" providerId="AD" clId="Web-{83EBB314-02FD-389E-D0F7-FD5FCCAFA424}" dt="2024-12-05T02:30:34.464" v="51" actId="20577"/>
          <ac:spMkLst>
            <pc:docMk/>
            <pc:sldMk cId="2061990562" sldId="281"/>
            <ac:spMk id="189" creationId="{00000000-0000-0000-0000-000000000000}"/>
          </ac:spMkLst>
        </pc:spChg>
        <pc:spChg chg="ord">
          <ac:chgData name="Chichikin, Ivan" userId="S::chichiki@marshall.usc.edu::dc52fc8b-4cef-4598-bd5c-e63466a40d39" providerId="AD" clId="Web-{83EBB314-02FD-389E-D0F7-FD5FCCAFA424}" dt="2024-12-05T02:30:23.307" v="49"/>
          <ac:spMkLst>
            <pc:docMk/>
            <pc:sldMk cId="2061990562" sldId="281"/>
            <ac:spMk id="195" creationId="{00000000-0000-0000-0000-000000000000}"/>
          </ac:spMkLst>
        </pc:spChg>
        <pc:picChg chg="add mod">
          <ac:chgData name="Chichikin, Ivan" userId="S::chichiki@marshall.usc.edu::dc52fc8b-4cef-4598-bd5c-e63466a40d39" providerId="AD" clId="Web-{83EBB314-02FD-389E-D0F7-FD5FCCAFA424}" dt="2024-12-05T02:28:33.888" v="28" actId="1076"/>
          <ac:picMkLst>
            <pc:docMk/>
            <pc:sldMk cId="2061990562" sldId="281"/>
            <ac:picMk id="3" creationId="{72F6F12B-EC05-6D19-FE8D-2ADE88D430D1}"/>
          </ac:picMkLst>
        </pc:picChg>
      </pc:sldChg>
      <pc:sldChg chg="modSp add">
        <pc:chgData name="Chichikin, Ivan" userId="S::chichiki@marshall.usc.edu::dc52fc8b-4cef-4598-bd5c-e63466a40d39" providerId="AD" clId="Web-{83EBB314-02FD-389E-D0F7-FD5FCCAFA424}" dt="2024-12-05T02:50:42.716" v="122" actId="20577"/>
        <pc:sldMkLst>
          <pc:docMk/>
          <pc:sldMk cId="3238514955" sldId="282"/>
        </pc:sldMkLst>
        <pc:spChg chg="mod">
          <ac:chgData name="Chichikin, Ivan" userId="S::chichiki@marshall.usc.edu::dc52fc8b-4cef-4598-bd5c-e63466a40d39" providerId="AD" clId="Web-{83EBB314-02FD-389E-D0F7-FD5FCCAFA424}" dt="2024-12-05T02:32:06.455" v="70" actId="20577"/>
          <ac:spMkLst>
            <pc:docMk/>
            <pc:sldMk cId="3238514955" sldId="282"/>
            <ac:spMk id="2" creationId="{107DF19E-7303-5539-1CE8-BBD78C100B5D}"/>
          </ac:spMkLst>
        </pc:spChg>
        <pc:spChg chg="mod">
          <ac:chgData name="Chichikin, Ivan" userId="S::chichiki@marshall.usc.edu::dc52fc8b-4cef-4598-bd5c-e63466a40d39" providerId="AD" clId="Web-{83EBB314-02FD-389E-D0F7-FD5FCCAFA424}" dt="2024-12-05T02:50:42.716" v="122" actId="20577"/>
          <ac:spMkLst>
            <pc:docMk/>
            <pc:sldMk cId="3238514955" sldId="282"/>
            <ac:spMk id="325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0" name="Google Shape;14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g31abfd2b4e9_0_4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40" name="Google Shape;240;g31abfd2b4e9_0_4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431828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1abfd2b4e9_0_2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1"/>
                </a:solidFill>
              </a:rPr>
              <a:t>The results indicate the following:</a:t>
            </a:r>
            <a:endParaRPr>
              <a:solidFill>
                <a:schemeClr val="dk1"/>
              </a:solidFill>
            </a:endParaRPr>
          </a:p>
          <a:p>
            <a:pPr marL="457200" lvl="0" indent="-29845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AutoNum type="arabicPeriod"/>
            </a:pPr>
            <a:r>
              <a:rPr lang="en-US" b="1">
                <a:solidFill>
                  <a:schemeClr val="dk1"/>
                </a:solidFill>
              </a:rPr>
              <a:t>Expected Payoff (2a - Immediate Popularity)</a:t>
            </a:r>
            <a:r>
              <a:rPr lang="en-US">
                <a:solidFill>
                  <a:schemeClr val="dk1"/>
                </a:solidFill>
              </a:rPr>
              <a:t>:</a:t>
            </a:r>
            <a:endParaRPr>
              <a:solidFill>
                <a:schemeClr val="dk1"/>
              </a:solidFill>
            </a:endParaRPr>
          </a:p>
          <a:p>
            <a:pPr marL="91440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</a:pPr>
            <a:r>
              <a:rPr lang="en-US" b="1">
                <a:solidFill>
                  <a:schemeClr val="dk1"/>
                </a:solidFill>
              </a:rPr>
              <a:t>$8,151,000</a:t>
            </a:r>
            <a:r>
              <a:rPr lang="en-US">
                <a:solidFill>
                  <a:schemeClr val="dk1"/>
                </a:solidFill>
              </a:rPr>
              <a:t>: This is the total expected payoff based on the Decision Tree model's immediate popularity predictions. It assumes only the songs predicted as popular within two months contribute to the revenue.</a:t>
            </a:r>
            <a:endParaRPr>
              <a:solidFill>
                <a:schemeClr val="dk1"/>
              </a:solidFill>
            </a:endParaRP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AutoNum type="arabicPeriod"/>
            </a:pPr>
            <a:r>
              <a:rPr lang="en-US" b="1">
                <a:solidFill>
                  <a:schemeClr val="dk1"/>
                </a:solidFill>
              </a:rPr>
              <a:t>Expected Payoff (2b - With Delayed Popularity)</a:t>
            </a:r>
            <a:r>
              <a:rPr lang="en-US">
                <a:solidFill>
                  <a:schemeClr val="dk1"/>
                </a:solidFill>
              </a:rPr>
              <a:t>:</a:t>
            </a:r>
            <a:endParaRPr>
              <a:solidFill>
                <a:schemeClr val="dk1"/>
              </a:solidFill>
            </a:endParaRPr>
          </a:p>
          <a:p>
            <a:pPr marL="91440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</a:pPr>
            <a:r>
              <a:rPr lang="en-US" b="1">
                <a:solidFill>
                  <a:schemeClr val="dk1"/>
                </a:solidFill>
              </a:rPr>
              <a:t>$14,479,800</a:t>
            </a:r>
            <a:r>
              <a:rPr lang="en-US">
                <a:solidFill>
                  <a:schemeClr val="dk1"/>
                </a:solidFill>
              </a:rPr>
              <a:t>: This incorporates the 20% chance that unpopular songs may gain popularity later. This adjustment adds additional revenue potential to the payoff calculation.</a:t>
            </a:r>
            <a:endParaRPr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53" name="Google Shape;253;g31abfd2b4e9_0_2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g31abfd2b4e9_0_4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9" name="Google Shape;269;g31abfd2b4e9_0_4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g31abfd2b4e9_0_2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83" name="Google Shape;283;g31abfd2b4e9_0_2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g31abfd2b4e9_0_4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94" name="Google Shape;294;g31abfd2b4e9_0_4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g31abfd2b4e9_0_4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317" name="Google Shape;317;g31abfd2b4e9_0_4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1abfd2b4e9_0_4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353" name="Google Shape;353;g31abfd2b4e9_0_4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g31abfd2b4e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389" name="Google Shape;389;g31abfd2b4e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6" name="Google Shape;15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31abfd2b4e9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0" name="Google Shape;170;g31abfd2b4e9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31abfd2b4e9_0_1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86" name="Google Shape;186;g31abfd2b4e9_0_1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31abfd2b4e9_0_1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86" name="Google Shape;186;g31abfd2b4e9_0_1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g31b648ae6f7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99" name="Google Shape;199;g31b648ae6f7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g31b648ae6f7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15" name="Google Shape;215;g31b648ae6f7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31abfd2b4e9_0_1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9" name="Google Shape;229;g31abfd2b4e9_0_1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g31abfd2b4e9_0_4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40" name="Google Shape;240;g31abfd2b4e9_0_4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25"/>
          <p:cNvGrpSpPr/>
          <p:nvPr/>
        </p:nvGrpSpPr>
        <p:grpSpPr>
          <a:xfrm>
            <a:off x="-2209989" y="1051376"/>
            <a:ext cx="7707891" cy="1681911"/>
            <a:chOff x="0" y="0"/>
            <a:chExt cx="10277188" cy="2242548"/>
          </a:xfrm>
        </p:grpSpPr>
        <p:sp>
          <p:nvSpPr>
            <p:cNvPr id="11" name="Google Shape;11;p25"/>
            <p:cNvSpPr/>
            <p:nvPr/>
          </p:nvSpPr>
          <p:spPr>
            <a:xfrm>
              <a:off x="8034640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12" name="Google Shape;12;p25"/>
            <p:cNvSpPr/>
            <p:nvPr/>
          </p:nvSpPr>
          <p:spPr>
            <a:xfrm>
              <a:off x="6427712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13" name="Google Shape;13;p25"/>
            <p:cNvSpPr/>
            <p:nvPr/>
          </p:nvSpPr>
          <p:spPr>
            <a:xfrm>
              <a:off x="4820784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14" name="Google Shape;14;p25"/>
            <p:cNvSpPr/>
            <p:nvPr/>
          </p:nvSpPr>
          <p:spPr>
            <a:xfrm>
              <a:off x="3213856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15" name="Google Shape;15;p25"/>
            <p:cNvSpPr/>
            <p:nvPr/>
          </p:nvSpPr>
          <p:spPr>
            <a:xfrm>
              <a:off x="1606928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16" name="Google Shape;16;p25"/>
            <p:cNvSpPr/>
            <p:nvPr/>
          </p:nvSpPr>
          <p:spPr>
            <a:xfrm>
              <a:off x="0" y="0"/>
              <a:ext cx="2242548" cy="2242548"/>
            </a:xfrm>
            <a:custGeom>
              <a:avLst/>
              <a:gdLst/>
              <a:ahLst/>
              <a:cxnLst/>
              <a:rect l="l" t="t" r="r" b="b"/>
              <a:pathLst>
                <a:path w="2242548" h="2242548" extrusionOk="0">
                  <a:moveTo>
                    <a:pt x="0" y="0"/>
                  </a:moveTo>
                  <a:lnTo>
                    <a:pt x="2242548" y="0"/>
                  </a:lnTo>
                  <a:lnTo>
                    <a:pt x="2242548" y="2242548"/>
                  </a:lnTo>
                  <a:lnTo>
                    <a:pt x="0" y="224254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</p:sp>
      </p:grpSp>
      <p:sp>
        <p:nvSpPr>
          <p:cNvPr id="17" name="Google Shape;17;p25"/>
          <p:cNvSpPr/>
          <p:nvPr/>
        </p:nvSpPr>
        <p:spPr>
          <a:xfrm>
            <a:off x="14255314" y="5291450"/>
            <a:ext cx="6633646" cy="4535002"/>
          </a:xfrm>
          <a:custGeom>
            <a:avLst/>
            <a:gdLst/>
            <a:ahLst/>
            <a:cxnLst/>
            <a:rect l="l" t="t" r="r" b="b"/>
            <a:pathLst>
              <a:path w="6633646" h="4535002" extrusionOk="0">
                <a:moveTo>
                  <a:pt x="0" y="0"/>
                </a:moveTo>
                <a:lnTo>
                  <a:pt x="6633646" y="0"/>
                </a:lnTo>
                <a:lnTo>
                  <a:pt x="6633646" y="4535002"/>
                </a:lnTo>
                <a:lnTo>
                  <a:pt x="0" y="453500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8" name="Google Shape;18;p25"/>
          <p:cNvSpPr/>
          <p:nvPr/>
        </p:nvSpPr>
        <p:spPr>
          <a:xfrm>
            <a:off x="-4539537" y="6004963"/>
            <a:ext cx="8575663" cy="8564074"/>
          </a:xfrm>
          <a:custGeom>
            <a:avLst/>
            <a:gdLst/>
            <a:ahLst/>
            <a:cxnLst/>
            <a:rect l="l" t="t" r="r" b="b"/>
            <a:pathLst>
              <a:path w="8575663" h="8564074" extrusionOk="0">
                <a:moveTo>
                  <a:pt x="0" y="0"/>
                </a:moveTo>
                <a:lnTo>
                  <a:pt x="8575663" y="0"/>
                </a:lnTo>
                <a:lnTo>
                  <a:pt x="8575663" y="8564074"/>
                </a:lnTo>
                <a:lnTo>
                  <a:pt x="0" y="85640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9" name="Google Shape;19;p25"/>
          <p:cNvSpPr/>
          <p:nvPr/>
        </p:nvSpPr>
        <p:spPr>
          <a:xfrm rot="-5400000">
            <a:off x="13954816" y="-2575657"/>
            <a:ext cx="6439219" cy="6439219"/>
          </a:xfrm>
          <a:custGeom>
            <a:avLst/>
            <a:gdLst/>
            <a:ahLst/>
            <a:cxnLst/>
            <a:rect l="l" t="t" r="r" b="b"/>
            <a:pathLst>
              <a:path w="6439219" h="6439219" extrusionOk="0">
                <a:moveTo>
                  <a:pt x="0" y="0"/>
                </a:moveTo>
                <a:lnTo>
                  <a:pt x="6439218" y="0"/>
                </a:lnTo>
                <a:lnTo>
                  <a:pt x="6439218" y="6439219"/>
                </a:lnTo>
                <a:lnTo>
                  <a:pt x="0" y="643921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20" name="Google Shape;20;p25"/>
          <p:cNvSpPr txBox="1">
            <a:spLocks noGrp="1"/>
          </p:cNvSpPr>
          <p:nvPr>
            <p:ph type="title"/>
          </p:nvPr>
        </p:nvSpPr>
        <p:spPr>
          <a:xfrm>
            <a:off x="356150" y="2733275"/>
            <a:ext cx="17575800" cy="45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Font typeface="League Spartan ExtraBold"/>
              <a:buNone/>
              <a:defRPr sz="16100" i="0" u="none" strike="noStrike" cap="none">
                <a:solidFill>
                  <a:srgbClr val="23DC6D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6100"/>
              <a:buNone/>
              <a:defRPr sz="16100">
                <a:solidFill>
                  <a:srgbClr val="23DC6D"/>
                </a:solidFill>
              </a:defRPr>
            </a:lvl9pPr>
          </a:lstStyle>
          <a:p>
            <a:endParaRPr/>
          </a:p>
        </p:txBody>
      </p:sp>
      <p:sp>
        <p:nvSpPr>
          <p:cNvPr id="21" name="Google Shape;21;p25"/>
          <p:cNvSpPr txBox="1">
            <a:spLocks noGrp="1"/>
          </p:cNvSpPr>
          <p:nvPr>
            <p:ph type="subTitle" idx="1"/>
          </p:nvPr>
        </p:nvSpPr>
        <p:spPr>
          <a:xfrm>
            <a:off x="2931025" y="1571325"/>
            <a:ext cx="11324400" cy="6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 b="1"/>
            </a:lvl1pPr>
            <a:lvl2pPr lvl="1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2pPr>
            <a:lvl3pPr lvl="2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3pPr>
            <a:lvl4pPr lvl="3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4pPr>
            <a:lvl5pPr lvl="4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5pPr>
            <a:lvl6pPr lvl="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6pPr>
            <a:lvl7pPr lvl="6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7pPr>
            <a:lvl8pPr lvl="7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8pPr>
            <a:lvl9pPr lvl="8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9pPr>
          </a:lstStyle>
          <a:p>
            <a:endParaRPr/>
          </a:p>
        </p:txBody>
      </p:sp>
      <p:sp>
        <p:nvSpPr>
          <p:cNvPr id="22" name="Google Shape;22;p25"/>
          <p:cNvSpPr txBox="1">
            <a:spLocks noGrp="1"/>
          </p:cNvSpPr>
          <p:nvPr>
            <p:ph type="subTitle" idx="2"/>
          </p:nvPr>
        </p:nvSpPr>
        <p:spPr>
          <a:xfrm>
            <a:off x="2931025" y="7638325"/>
            <a:ext cx="11324400" cy="6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 b="1"/>
            </a:lvl1pPr>
            <a:lvl2pPr lvl="1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2pPr>
            <a:lvl3pPr lvl="2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3pPr>
            <a:lvl4pPr lvl="3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4pPr>
            <a:lvl5pPr lvl="4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5pPr>
            <a:lvl6pPr lvl="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6pPr>
            <a:lvl7pPr lvl="6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7pPr>
            <a:lvl8pPr lvl="7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8pPr>
            <a:lvl9pPr lvl="8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5700"/>
              <a:buNone/>
              <a:defRPr sz="57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_1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6"/>
          <p:cNvSpPr txBox="1">
            <a:spLocks noGrp="1"/>
          </p:cNvSpPr>
          <p:nvPr>
            <p:ph type="title"/>
          </p:nvPr>
        </p:nvSpPr>
        <p:spPr>
          <a:xfrm>
            <a:off x="1497450" y="945600"/>
            <a:ext cx="6433200" cy="11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500"/>
              <a:buNone/>
              <a:defRPr sz="7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" name="Google Shape;25;p26"/>
          <p:cNvGrpSpPr/>
          <p:nvPr/>
        </p:nvGrpSpPr>
        <p:grpSpPr>
          <a:xfrm rot="5400000">
            <a:off x="10217146" y="2107716"/>
            <a:ext cx="10287066" cy="6071634"/>
            <a:chOff x="0" y="-28575"/>
            <a:chExt cx="2709333" cy="1599103"/>
          </a:xfrm>
        </p:grpSpPr>
        <p:sp>
          <p:nvSpPr>
            <p:cNvPr id="26" name="Google Shape;26;p26"/>
            <p:cNvSpPr/>
            <p:nvPr/>
          </p:nvSpPr>
          <p:spPr>
            <a:xfrm>
              <a:off x="0" y="0"/>
              <a:ext cx="2709333" cy="1570528"/>
            </a:xfrm>
            <a:custGeom>
              <a:avLst/>
              <a:gdLst/>
              <a:ahLst/>
              <a:cxnLst/>
              <a:rect l="l" t="t" r="r" b="b"/>
              <a:pathLst>
                <a:path w="2709333" h="1570528" extrusionOk="0">
                  <a:moveTo>
                    <a:pt x="0" y="0"/>
                  </a:moveTo>
                  <a:lnTo>
                    <a:pt x="2709333" y="0"/>
                  </a:lnTo>
                  <a:lnTo>
                    <a:pt x="2709333" y="1570528"/>
                  </a:lnTo>
                  <a:lnTo>
                    <a:pt x="0" y="1570528"/>
                  </a:lnTo>
                  <a:close/>
                </a:path>
              </a:pathLst>
            </a:custGeom>
            <a:gradFill>
              <a:gsLst>
                <a:gs pos="0">
                  <a:srgbClr val="6AE870"/>
                </a:gs>
                <a:gs pos="100000">
                  <a:srgbClr val="000000"/>
                </a:gs>
              </a:gsLst>
              <a:lin ang="5400012" scaled="0"/>
            </a:gradFill>
            <a:ln>
              <a:noFill/>
            </a:ln>
          </p:spPr>
        </p:sp>
        <p:sp>
          <p:nvSpPr>
            <p:cNvPr id="27" name="Google Shape;27;p26"/>
            <p:cNvSpPr txBox="1"/>
            <p:nvPr/>
          </p:nvSpPr>
          <p:spPr>
            <a:xfrm>
              <a:off x="0" y="-28575"/>
              <a:ext cx="2709300" cy="1599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" name="Google Shape;28;p26"/>
          <p:cNvSpPr/>
          <p:nvPr/>
        </p:nvSpPr>
        <p:spPr>
          <a:xfrm>
            <a:off x="7565689" y="141999"/>
            <a:ext cx="3156622" cy="3215078"/>
          </a:xfrm>
          <a:custGeom>
            <a:avLst/>
            <a:gdLst/>
            <a:ahLst/>
            <a:cxnLst/>
            <a:rect l="l" t="t" r="r" b="b"/>
            <a:pathLst>
              <a:path w="3156622" h="3215078" extrusionOk="0">
                <a:moveTo>
                  <a:pt x="0" y="0"/>
                </a:moveTo>
                <a:lnTo>
                  <a:pt x="3156622" y="0"/>
                </a:lnTo>
                <a:lnTo>
                  <a:pt x="3156622" y="3215078"/>
                </a:lnTo>
                <a:lnTo>
                  <a:pt x="0" y="321507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29" name="Google Shape;29;p26"/>
          <p:cNvSpPr/>
          <p:nvPr/>
        </p:nvSpPr>
        <p:spPr>
          <a:xfrm>
            <a:off x="8101256" y="945590"/>
            <a:ext cx="8714962" cy="8714962"/>
          </a:xfrm>
          <a:custGeom>
            <a:avLst/>
            <a:gdLst/>
            <a:ahLst/>
            <a:cxnLst/>
            <a:rect l="l" t="t" r="r" b="b"/>
            <a:pathLst>
              <a:path w="8714962" h="8714962" extrusionOk="0">
                <a:moveTo>
                  <a:pt x="0" y="0"/>
                </a:moveTo>
                <a:lnTo>
                  <a:pt x="8714963" y="0"/>
                </a:lnTo>
                <a:lnTo>
                  <a:pt x="8714963" y="8714962"/>
                </a:lnTo>
                <a:lnTo>
                  <a:pt x="0" y="871496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3000"/>
            </a:blip>
            <a:stretch>
              <a:fillRect/>
            </a:stretch>
          </a:blipFill>
          <a:ln>
            <a:noFill/>
          </a:ln>
        </p:spPr>
      </p:sp>
      <p:sp>
        <p:nvSpPr>
          <p:cNvPr id="30" name="Google Shape;30;p26"/>
          <p:cNvSpPr>
            <a:spLocks noGrp="1"/>
          </p:cNvSpPr>
          <p:nvPr>
            <p:ph type="pic" idx="2"/>
          </p:nvPr>
        </p:nvSpPr>
        <p:spPr>
          <a:xfrm>
            <a:off x="9144000" y="1772050"/>
            <a:ext cx="6978000" cy="6742800"/>
          </a:xfrm>
          <a:prstGeom prst="rect">
            <a:avLst/>
          </a:prstGeom>
          <a:noFill/>
          <a:ln>
            <a:noFill/>
          </a:ln>
        </p:spPr>
      </p:sp>
      <p:sp>
        <p:nvSpPr>
          <p:cNvPr id="31" name="Google Shape;31;p26"/>
          <p:cNvSpPr txBox="1"/>
          <p:nvPr/>
        </p:nvSpPr>
        <p:spPr>
          <a:xfrm>
            <a:off x="1497457" y="2879402"/>
            <a:ext cx="629400" cy="60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1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2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3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4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5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26"/>
          <p:cNvSpPr txBox="1">
            <a:spLocks noGrp="1"/>
          </p:cNvSpPr>
          <p:nvPr>
            <p:ph type="subTitle" idx="1"/>
          </p:nvPr>
        </p:nvSpPr>
        <p:spPr>
          <a:xfrm>
            <a:off x="2319125" y="2891488"/>
            <a:ext cx="6433200" cy="5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4750"/>
              <a:buNone/>
              <a:defRPr sz="4750"/>
            </a:lvl1pPr>
            <a:lvl2pPr lvl="1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subTitle" idx="3"/>
          </p:nvPr>
        </p:nvSpPr>
        <p:spPr>
          <a:xfrm>
            <a:off x="2319125" y="4167837"/>
            <a:ext cx="6433200" cy="5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4750"/>
              <a:buNone/>
              <a:defRPr sz="4750"/>
            </a:lvl1pPr>
            <a:lvl2pPr lvl="1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subTitle" idx="4"/>
          </p:nvPr>
        </p:nvSpPr>
        <p:spPr>
          <a:xfrm>
            <a:off x="2319125" y="5492230"/>
            <a:ext cx="6433200" cy="5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4750"/>
              <a:buNone/>
              <a:defRPr sz="4750"/>
            </a:lvl1pPr>
            <a:lvl2pPr lvl="1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subTitle" idx="5"/>
          </p:nvPr>
        </p:nvSpPr>
        <p:spPr>
          <a:xfrm>
            <a:off x="2319125" y="6831513"/>
            <a:ext cx="6433200" cy="5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4750"/>
              <a:buNone/>
              <a:defRPr sz="4750"/>
            </a:lvl1pPr>
            <a:lvl2pPr lvl="1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subTitle" idx="6"/>
          </p:nvPr>
        </p:nvSpPr>
        <p:spPr>
          <a:xfrm>
            <a:off x="2319125" y="8108693"/>
            <a:ext cx="6433200" cy="5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4750"/>
              <a:buNone/>
              <a:defRPr sz="4750"/>
            </a:lvl1pPr>
            <a:lvl2pPr lvl="1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3">
  <p:cSld name="CUSTOM_2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oogle Shape;38;p27"/>
          <p:cNvGrpSpPr/>
          <p:nvPr/>
        </p:nvGrpSpPr>
        <p:grpSpPr>
          <a:xfrm rot="10800000">
            <a:off x="-118" y="5827157"/>
            <a:ext cx="18288118" cy="4657699"/>
            <a:chOff x="0" y="-28575"/>
            <a:chExt cx="4816592" cy="1226711"/>
          </a:xfrm>
        </p:grpSpPr>
        <p:sp>
          <p:nvSpPr>
            <p:cNvPr id="39" name="Google Shape;39;p27"/>
            <p:cNvSpPr/>
            <p:nvPr/>
          </p:nvSpPr>
          <p:spPr>
            <a:xfrm>
              <a:off x="0" y="0"/>
              <a:ext cx="4816592" cy="1198136"/>
            </a:xfrm>
            <a:custGeom>
              <a:avLst/>
              <a:gdLst/>
              <a:ahLst/>
              <a:cxnLst/>
              <a:rect l="l" t="t" r="r" b="b"/>
              <a:pathLst>
                <a:path w="4816592" h="1198136" extrusionOk="0">
                  <a:moveTo>
                    <a:pt x="0" y="0"/>
                  </a:moveTo>
                  <a:lnTo>
                    <a:pt x="4816592" y="0"/>
                  </a:lnTo>
                  <a:lnTo>
                    <a:pt x="4816592" y="1198136"/>
                  </a:lnTo>
                  <a:lnTo>
                    <a:pt x="0" y="1198136"/>
                  </a:lnTo>
                  <a:close/>
                </a:path>
              </a:pathLst>
            </a:custGeom>
            <a:gradFill>
              <a:gsLst>
                <a:gs pos="0">
                  <a:srgbClr val="6AE870"/>
                </a:gs>
                <a:gs pos="100000">
                  <a:srgbClr val="000000"/>
                </a:gs>
              </a:gsLst>
              <a:lin ang="5400012" scaled="0"/>
            </a:gradFill>
            <a:ln>
              <a:noFill/>
            </a:ln>
          </p:spPr>
        </p:sp>
        <p:sp>
          <p:nvSpPr>
            <p:cNvPr id="40" name="Google Shape;40;p27"/>
            <p:cNvSpPr txBox="1"/>
            <p:nvPr/>
          </p:nvSpPr>
          <p:spPr>
            <a:xfrm>
              <a:off x="0" y="-28575"/>
              <a:ext cx="4816500" cy="1226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" name="Google Shape;41;p27"/>
          <p:cNvSpPr/>
          <p:nvPr/>
        </p:nvSpPr>
        <p:spPr>
          <a:xfrm>
            <a:off x="553794" y="528211"/>
            <a:ext cx="4122011" cy="3972120"/>
          </a:xfrm>
          <a:custGeom>
            <a:avLst/>
            <a:gdLst/>
            <a:ahLst/>
            <a:cxnLst/>
            <a:rect l="l" t="t" r="r" b="b"/>
            <a:pathLst>
              <a:path w="4122011" h="3972120" extrusionOk="0">
                <a:moveTo>
                  <a:pt x="0" y="0"/>
                </a:moveTo>
                <a:lnTo>
                  <a:pt x="4122011" y="0"/>
                </a:lnTo>
                <a:lnTo>
                  <a:pt x="4122011" y="3972120"/>
                </a:lnTo>
                <a:lnTo>
                  <a:pt x="0" y="397212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sp>
      <p:grpSp>
        <p:nvGrpSpPr>
          <p:cNvPr id="42" name="Google Shape;42;p27"/>
          <p:cNvGrpSpPr/>
          <p:nvPr/>
        </p:nvGrpSpPr>
        <p:grpSpPr>
          <a:xfrm>
            <a:off x="13046639" y="7179026"/>
            <a:ext cx="4594189" cy="4351950"/>
            <a:chOff x="0" y="0"/>
            <a:chExt cx="6125585" cy="5802600"/>
          </a:xfrm>
        </p:grpSpPr>
        <p:sp>
          <p:nvSpPr>
            <p:cNvPr id="43" name="Google Shape;43;p27"/>
            <p:cNvSpPr/>
            <p:nvPr/>
          </p:nvSpPr>
          <p:spPr>
            <a:xfrm>
              <a:off x="0" y="0"/>
              <a:ext cx="6125585" cy="5802600"/>
            </a:xfrm>
            <a:custGeom>
              <a:avLst/>
              <a:gdLst/>
              <a:ahLst/>
              <a:cxnLst/>
              <a:rect l="l" t="t" r="r" b="b"/>
              <a:pathLst>
                <a:path w="6125585" h="5802600" extrusionOk="0">
                  <a:moveTo>
                    <a:pt x="0" y="0"/>
                  </a:moveTo>
                  <a:lnTo>
                    <a:pt x="6125585" y="0"/>
                  </a:lnTo>
                  <a:lnTo>
                    <a:pt x="6125585" y="5802600"/>
                  </a:lnTo>
                  <a:lnTo>
                    <a:pt x="0" y="5802600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sp>
          <p:nvSpPr>
            <p:cNvPr id="44" name="Google Shape;44;p27"/>
            <p:cNvSpPr/>
            <p:nvPr/>
          </p:nvSpPr>
          <p:spPr>
            <a:xfrm>
              <a:off x="2699530" y="2538037"/>
              <a:ext cx="726526" cy="726526"/>
            </a:xfrm>
            <a:custGeom>
              <a:avLst/>
              <a:gdLst/>
              <a:ahLst/>
              <a:cxnLst/>
              <a:rect l="l" t="t" r="r" b="b"/>
              <a:pathLst>
                <a:path w="726526" h="726526" extrusionOk="0">
                  <a:moveTo>
                    <a:pt x="0" y="0"/>
                  </a:moveTo>
                  <a:lnTo>
                    <a:pt x="726526" y="0"/>
                  </a:lnTo>
                  <a:lnTo>
                    <a:pt x="726526" y="726526"/>
                  </a:lnTo>
                  <a:lnTo>
                    <a:pt x="0" y="726526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4">
                <a:alphaModFix/>
              </a:blip>
              <a:stretch>
                <a:fillRect/>
              </a:stretch>
            </a:blipFill>
            <a:ln>
              <a:noFill/>
            </a:ln>
          </p:spPr>
        </p:sp>
      </p:grpSp>
      <p:sp>
        <p:nvSpPr>
          <p:cNvPr id="45" name="Google Shape;45;p27"/>
          <p:cNvSpPr txBox="1">
            <a:spLocks noGrp="1"/>
          </p:cNvSpPr>
          <p:nvPr>
            <p:ph type="title"/>
          </p:nvPr>
        </p:nvSpPr>
        <p:spPr>
          <a:xfrm>
            <a:off x="1701975" y="2652575"/>
            <a:ext cx="14883900" cy="37458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0"/>
              <a:buNone/>
              <a:defRPr sz="1400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7"/>
          <p:cNvSpPr txBox="1">
            <a:spLocks noGrp="1"/>
          </p:cNvSpPr>
          <p:nvPr>
            <p:ph type="body" idx="1"/>
          </p:nvPr>
        </p:nvSpPr>
        <p:spPr>
          <a:xfrm>
            <a:off x="3988050" y="7371525"/>
            <a:ext cx="10311900" cy="126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1pPr>
            <a:lvl2pPr marL="914400" lvl="1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2pPr>
            <a:lvl3pPr marL="1371600" lvl="2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3pPr>
            <a:lvl4pPr marL="1828800" lvl="3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4pPr>
            <a:lvl5pPr marL="2286000" lvl="4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»"/>
              <a:defRPr/>
            </a:lvl5pPr>
            <a:lvl6pPr marL="2743200" lvl="5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6pPr>
            <a:lvl7pPr marL="3200400" lvl="6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7pPr>
            <a:lvl8pPr marL="3657600" lvl="7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8pPr>
            <a:lvl9pPr marL="4114800" lvl="8" indent="-36512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4">
  <p:cSld name="CUSTOM_3">
    <p:bg>
      <p:bgPr>
        <a:solidFill>
          <a:srgbClr val="23DC6D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8"/>
          <p:cNvSpPr/>
          <p:nvPr/>
        </p:nvSpPr>
        <p:spPr>
          <a:xfrm>
            <a:off x="14538907" y="-1026374"/>
            <a:ext cx="4149852" cy="4226702"/>
          </a:xfrm>
          <a:custGeom>
            <a:avLst/>
            <a:gdLst/>
            <a:ahLst/>
            <a:cxnLst/>
            <a:rect l="l" t="t" r="r" b="b"/>
            <a:pathLst>
              <a:path w="4149852" h="4226702" extrusionOk="0">
                <a:moveTo>
                  <a:pt x="0" y="0"/>
                </a:moveTo>
                <a:lnTo>
                  <a:pt x="4149853" y="0"/>
                </a:lnTo>
                <a:lnTo>
                  <a:pt x="4149853" y="4226702"/>
                </a:lnTo>
                <a:lnTo>
                  <a:pt x="0" y="422670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49" name="Google Shape;49;p28"/>
          <p:cNvSpPr/>
          <p:nvPr/>
        </p:nvSpPr>
        <p:spPr>
          <a:xfrm rot="-5400000">
            <a:off x="859256" y="8384552"/>
            <a:ext cx="3625028" cy="3804896"/>
          </a:xfrm>
          <a:custGeom>
            <a:avLst/>
            <a:gdLst/>
            <a:ahLst/>
            <a:cxnLst/>
            <a:rect l="l" t="t" r="r" b="b"/>
            <a:pathLst>
              <a:path w="3625028" h="3804896" extrusionOk="0">
                <a:moveTo>
                  <a:pt x="0" y="0"/>
                </a:moveTo>
                <a:lnTo>
                  <a:pt x="3625029" y="0"/>
                </a:lnTo>
                <a:lnTo>
                  <a:pt x="3625029" y="3804896"/>
                </a:lnTo>
                <a:lnTo>
                  <a:pt x="0" y="380489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50" name="Google Shape;50;p28"/>
          <p:cNvSpPr/>
          <p:nvPr/>
        </p:nvSpPr>
        <p:spPr>
          <a:xfrm>
            <a:off x="771232" y="1086977"/>
            <a:ext cx="19089519" cy="8113046"/>
          </a:xfrm>
          <a:custGeom>
            <a:avLst/>
            <a:gdLst/>
            <a:ahLst/>
            <a:cxnLst/>
            <a:rect l="l" t="t" r="r" b="b"/>
            <a:pathLst>
              <a:path w="19089519" h="8113046" extrusionOk="0">
                <a:moveTo>
                  <a:pt x="0" y="0"/>
                </a:moveTo>
                <a:lnTo>
                  <a:pt x="19089520" y="0"/>
                </a:lnTo>
                <a:lnTo>
                  <a:pt x="19089520" y="8113046"/>
                </a:lnTo>
                <a:lnTo>
                  <a:pt x="0" y="811304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51" name="Google Shape;51;p28"/>
          <p:cNvSpPr txBox="1">
            <a:spLocks noGrp="1"/>
          </p:cNvSpPr>
          <p:nvPr>
            <p:ph type="body" idx="1"/>
          </p:nvPr>
        </p:nvSpPr>
        <p:spPr>
          <a:xfrm>
            <a:off x="1780775" y="3103950"/>
            <a:ext cx="14639400" cy="407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marL="914400" lvl="1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–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marL="1371600" lvl="2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marL="1828800" lvl="3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–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marL="2286000" lvl="4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»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marL="2743200" lvl="5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marL="3200400" lvl="6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marL="3657600" lvl="7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marL="4114800" lvl="8" indent="-65405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6700"/>
              <a:buFont typeface="League Spartan"/>
              <a:buChar char="•"/>
              <a:defRPr sz="6700" b="1"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5">
  <p:cSld name="CUSTOM_4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29"/>
          <p:cNvSpPr txBox="1">
            <a:spLocks noGrp="1"/>
          </p:cNvSpPr>
          <p:nvPr>
            <p:ph type="title"/>
          </p:nvPr>
        </p:nvSpPr>
        <p:spPr>
          <a:xfrm>
            <a:off x="1028700" y="1881850"/>
            <a:ext cx="7502400" cy="314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4" name="Google Shape;54;p29"/>
          <p:cNvGrpSpPr/>
          <p:nvPr/>
        </p:nvGrpSpPr>
        <p:grpSpPr>
          <a:xfrm>
            <a:off x="13144500" y="920204"/>
            <a:ext cx="4114826" cy="4223672"/>
            <a:chOff x="0" y="-28575"/>
            <a:chExt cx="1083733" cy="1112400"/>
          </a:xfrm>
        </p:grpSpPr>
        <p:sp>
          <p:nvSpPr>
            <p:cNvPr id="55" name="Google Shape;55;p29"/>
            <p:cNvSpPr/>
            <p:nvPr/>
          </p:nvSpPr>
          <p:spPr>
            <a:xfrm>
              <a:off x="0" y="0"/>
              <a:ext cx="1083733" cy="1083733"/>
            </a:xfrm>
            <a:custGeom>
              <a:avLst/>
              <a:gdLst/>
              <a:ahLst/>
              <a:cxnLst/>
              <a:rect l="l" t="t" r="r" b="b"/>
              <a:pathLst>
                <a:path w="1083733" h="1083733" extrusionOk="0">
                  <a:moveTo>
                    <a:pt x="0" y="0"/>
                  </a:moveTo>
                  <a:lnTo>
                    <a:pt x="1083733" y="0"/>
                  </a:lnTo>
                  <a:lnTo>
                    <a:pt x="1083733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</p:sp>
        <p:sp>
          <p:nvSpPr>
            <p:cNvPr id="56" name="Google Shape;56;p29"/>
            <p:cNvSpPr txBox="1"/>
            <p:nvPr/>
          </p:nvSpPr>
          <p:spPr>
            <a:xfrm>
              <a:off x="0" y="-28575"/>
              <a:ext cx="1083600" cy="111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7" name="Google Shape;57;p29"/>
          <p:cNvGrpSpPr/>
          <p:nvPr/>
        </p:nvGrpSpPr>
        <p:grpSpPr>
          <a:xfrm>
            <a:off x="9029700" y="5035004"/>
            <a:ext cx="4114826" cy="4223672"/>
            <a:chOff x="0" y="-28575"/>
            <a:chExt cx="1083733" cy="1112400"/>
          </a:xfrm>
        </p:grpSpPr>
        <p:sp>
          <p:nvSpPr>
            <p:cNvPr id="58" name="Google Shape;58;p29"/>
            <p:cNvSpPr/>
            <p:nvPr/>
          </p:nvSpPr>
          <p:spPr>
            <a:xfrm>
              <a:off x="0" y="0"/>
              <a:ext cx="1083733" cy="1083733"/>
            </a:xfrm>
            <a:custGeom>
              <a:avLst/>
              <a:gdLst/>
              <a:ahLst/>
              <a:cxnLst/>
              <a:rect l="l" t="t" r="r" b="b"/>
              <a:pathLst>
                <a:path w="1083733" h="1083733" extrusionOk="0">
                  <a:moveTo>
                    <a:pt x="0" y="0"/>
                  </a:moveTo>
                  <a:lnTo>
                    <a:pt x="1083733" y="0"/>
                  </a:lnTo>
                  <a:lnTo>
                    <a:pt x="1083733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</p:sp>
        <p:sp>
          <p:nvSpPr>
            <p:cNvPr id="59" name="Google Shape;59;p29"/>
            <p:cNvSpPr txBox="1"/>
            <p:nvPr/>
          </p:nvSpPr>
          <p:spPr>
            <a:xfrm>
              <a:off x="0" y="-28575"/>
              <a:ext cx="1083600" cy="111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" name="Google Shape;60;p29"/>
          <p:cNvSpPr/>
          <p:nvPr/>
        </p:nvSpPr>
        <p:spPr>
          <a:xfrm>
            <a:off x="9029700" y="1028700"/>
            <a:ext cx="4114800" cy="41148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61" name="Google Shape;61;p29"/>
          <p:cNvSpPr/>
          <p:nvPr/>
        </p:nvSpPr>
        <p:spPr>
          <a:xfrm>
            <a:off x="13144500" y="5143500"/>
            <a:ext cx="4114800" cy="41148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62" name="Google Shape;62;p29"/>
          <p:cNvSpPr txBox="1">
            <a:spLocks noGrp="1"/>
          </p:cNvSpPr>
          <p:nvPr>
            <p:ph type="body" idx="1"/>
          </p:nvPr>
        </p:nvSpPr>
        <p:spPr>
          <a:xfrm>
            <a:off x="1028700" y="5464850"/>
            <a:ext cx="5963400" cy="294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1pPr>
            <a:lvl2pPr marL="914400" lvl="1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2pPr>
            <a:lvl3pPr marL="1371600" lvl="2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3pPr>
            <a:lvl4pPr marL="1828800" lvl="3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4pPr>
            <a:lvl5pPr marL="2286000" lvl="4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»"/>
              <a:defRPr/>
            </a:lvl5pPr>
            <a:lvl6pPr marL="2743200" lvl="5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6pPr>
            <a:lvl7pPr marL="3200400" lvl="6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7pPr>
            <a:lvl8pPr marL="3657600" lvl="7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8pPr>
            <a:lvl9pPr marL="4114800" lvl="8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29"/>
          <p:cNvSpPr>
            <a:spLocks noGrp="1"/>
          </p:cNvSpPr>
          <p:nvPr>
            <p:ph type="pic" idx="2"/>
          </p:nvPr>
        </p:nvSpPr>
        <p:spPr>
          <a:xfrm>
            <a:off x="13144500" y="1028950"/>
            <a:ext cx="41148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29"/>
          <p:cNvSpPr>
            <a:spLocks noGrp="1"/>
          </p:cNvSpPr>
          <p:nvPr>
            <p:ph type="pic" idx="3"/>
          </p:nvPr>
        </p:nvSpPr>
        <p:spPr>
          <a:xfrm>
            <a:off x="9029713" y="5143500"/>
            <a:ext cx="41148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65" name="Google Shape;65;p29"/>
          <p:cNvSpPr txBox="1">
            <a:spLocks noGrp="1"/>
          </p:cNvSpPr>
          <p:nvPr>
            <p:ph type="title" idx="4"/>
          </p:nvPr>
        </p:nvSpPr>
        <p:spPr>
          <a:xfrm>
            <a:off x="10068300" y="2153500"/>
            <a:ext cx="2037600" cy="57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350"/>
              <a:buNone/>
              <a:defRPr sz="435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9"/>
          <p:cNvSpPr txBox="1">
            <a:spLocks noGrp="1"/>
          </p:cNvSpPr>
          <p:nvPr>
            <p:ph type="subTitle" idx="5"/>
          </p:nvPr>
        </p:nvSpPr>
        <p:spPr>
          <a:xfrm>
            <a:off x="9803250" y="3085275"/>
            <a:ext cx="2567700" cy="3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1pPr>
            <a:lvl2pPr lvl="1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9"/>
          <p:cNvSpPr txBox="1">
            <a:spLocks noGrp="1"/>
          </p:cNvSpPr>
          <p:nvPr>
            <p:ph type="title" idx="6"/>
          </p:nvPr>
        </p:nvSpPr>
        <p:spPr>
          <a:xfrm>
            <a:off x="14183113" y="6505900"/>
            <a:ext cx="2037600" cy="57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350"/>
              <a:buNone/>
              <a:defRPr sz="435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9"/>
          <p:cNvSpPr txBox="1">
            <a:spLocks noGrp="1"/>
          </p:cNvSpPr>
          <p:nvPr>
            <p:ph type="subTitle" idx="7"/>
          </p:nvPr>
        </p:nvSpPr>
        <p:spPr>
          <a:xfrm>
            <a:off x="13918063" y="7437675"/>
            <a:ext cx="2567700" cy="3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1pPr>
            <a:lvl2pPr lvl="1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2pPr>
            <a:lvl3pPr lvl="2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3pPr>
            <a:lvl4pPr lvl="3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4pPr>
            <a:lvl5pPr lvl="4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5pPr>
            <a:lvl6pPr lvl="5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6pPr>
            <a:lvl7pPr lvl="6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7pPr>
            <a:lvl8pPr lvl="7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8pPr>
            <a:lvl9pPr lvl="8" algn="ctr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6">
  <p:cSld name="CUSTOM_5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0"/>
          <p:cNvSpPr txBox="1">
            <a:spLocks noGrp="1"/>
          </p:cNvSpPr>
          <p:nvPr>
            <p:ph type="title"/>
          </p:nvPr>
        </p:nvSpPr>
        <p:spPr>
          <a:xfrm>
            <a:off x="10653425" y="1313825"/>
            <a:ext cx="5635800" cy="19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100"/>
              <a:buNone/>
              <a:defRPr sz="121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0"/>
          <p:cNvSpPr/>
          <p:nvPr/>
        </p:nvSpPr>
        <p:spPr>
          <a:xfrm>
            <a:off x="1370354" y="1603714"/>
            <a:ext cx="7079573" cy="7079573"/>
          </a:xfrm>
          <a:custGeom>
            <a:avLst/>
            <a:gdLst/>
            <a:ahLst/>
            <a:cxnLst/>
            <a:rect l="l" t="t" r="r" b="b"/>
            <a:pathLst>
              <a:path w="7079573" h="7079573" extrusionOk="0">
                <a:moveTo>
                  <a:pt x="0" y="0"/>
                </a:moveTo>
                <a:lnTo>
                  <a:pt x="7079573" y="0"/>
                </a:lnTo>
                <a:lnTo>
                  <a:pt x="7079573" y="7079572"/>
                </a:lnTo>
                <a:lnTo>
                  <a:pt x="0" y="707957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sp>
      <p:pic>
        <p:nvPicPr>
          <p:cNvPr id="72" name="Google Shape;72;p30"/>
          <p:cNvPicPr preferRelativeResize="0"/>
          <p:nvPr/>
        </p:nvPicPr>
        <p:blipFill rotWithShape="1">
          <a:blip r:embed="rId3">
            <a:alphaModFix/>
          </a:blip>
          <a:srcRect l="10379" t="23118" r="26023"/>
          <a:stretch/>
        </p:blipFill>
        <p:spPr>
          <a:xfrm>
            <a:off x="-1586200" y="2447735"/>
            <a:ext cx="9845626" cy="79345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3" name="Google Shape;73;p30"/>
          <p:cNvCxnSpPr/>
          <p:nvPr/>
        </p:nvCxnSpPr>
        <p:spPr>
          <a:xfrm>
            <a:off x="10332293" y="5056701"/>
            <a:ext cx="6492300" cy="0"/>
          </a:xfrm>
          <a:prstGeom prst="straightConnector1">
            <a:avLst/>
          </a:prstGeom>
          <a:noFill/>
          <a:ln w="38100" cap="flat" cmpd="sng">
            <a:solidFill>
              <a:srgbClr val="23DC6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" name="Google Shape;74;p30"/>
          <p:cNvSpPr txBox="1">
            <a:spLocks noGrp="1"/>
          </p:cNvSpPr>
          <p:nvPr>
            <p:ph type="body" idx="1"/>
          </p:nvPr>
        </p:nvSpPr>
        <p:spPr>
          <a:xfrm>
            <a:off x="10653425" y="3168075"/>
            <a:ext cx="6895200" cy="11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1pPr>
            <a:lvl2pPr marL="914400" lvl="1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–"/>
              <a:defRPr sz="2450"/>
            </a:lvl2pPr>
            <a:lvl3pPr marL="1371600" lvl="2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3pPr>
            <a:lvl4pPr marL="1828800" lvl="3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–"/>
              <a:defRPr sz="2450"/>
            </a:lvl4pPr>
            <a:lvl5pPr marL="2286000" lvl="4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»"/>
              <a:defRPr sz="2450"/>
            </a:lvl5pPr>
            <a:lvl6pPr marL="2743200" lvl="5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6pPr>
            <a:lvl7pPr marL="3200400" lvl="6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7pPr>
            <a:lvl8pPr marL="3657600" lvl="7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8pPr>
            <a:lvl9pPr marL="4114800" lvl="8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9pPr>
          </a:lstStyle>
          <a:p>
            <a:endParaRPr/>
          </a:p>
        </p:txBody>
      </p:sp>
      <p:sp>
        <p:nvSpPr>
          <p:cNvPr id="75" name="Google Shape;75;p30"/>
          <p:cNvSpPr txBox="1">
            <a:spLocks noGrp="1"/>
          </p:cNvSpPr>
          <p:nvPr>
            <p:ph type="title" idx="2"/>
          </p:nvPr>
        </p:nvSpPr>
        <p:spPr>
          <a:xfrm>
            <a:off x="10653425" y="5931375"/>
            <a:ext cx="5635800" cy="19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25FF"/>
              </a:buClr>
              <a:buSzPts val="12100"/>
              <a:buNone/>
              <a:defRPr sz="12100">
                <a:solidFill>
                  <a:srgbClr val="6C25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30"/>
          <p:cNvSpPr txBox="1">
            <a:spLocks noGrp="1"/>
          </p:cNvSpPr>
          <p:nvPr>
            <p:ph type="body" idx="3"/>
          </p:nvPr>
        </p:nvSpPr>
        <p:spPr>
          <a:xfrm>
            <a:off x="10653425" y="7785625"/>
            <a:ext cx="6895200" cy="11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1pPr>
            <a:lvl2pPr marL="914400" lvl="1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–"/>
              <a:defRPr sz="2450"/>
            </a:lvl2pPr>
            <a:lvl3pPr marL="1371600" lvl="2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3pPr>
            <a:lvl4pPr marL="1828800" lvl="3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–"/>
              <a:defRPr sz="2450"/>
            </a:lvl4pPr>
            <a:lvl5pPr marL="2286000" lvl="4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»"/>
              <a:defRPr sz="2450"/>
            </a:lvl5pPr>
            <a:lvl6pPr marL="2743200" lvl="5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6pPr>
            <a:lvl7pPr marL="3200400" lvl="6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7pPr>
            <a:lvl8pPr marL="3657600" lvl="7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8pPr>
            <a:lvl9pPr marL="4114800" lvl="8" indent="-38417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450"/>
              <a:buChar char="•"/>
              <a:defRPr sz="245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7">
  <p:cSld name="CUSTOM_6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31"/>
          <p:cNvSpPr>
            <a:spLocks noGrp="1"/>
          </p:cNvSpPr>
          <p:nvPr>
            <p:ph type="pic" idx="2"/>
          </p:nvPr>
        </p:nvSpPr>
        <p:spPr>
          <a:xfrm>
            <a:off x="12884163" y="2198025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79" name="Google Shape;79;p31"/>
          <p:cNvSpPr>
            <a:spLocks noGrp="1"/>
          </p:cNvSpPr>
          <p:nvPr>
            <p:ph type="pic" idx="3"/>
          </p:nvPr>
        </p:nvSpPr>
        <p:spPr>
          <a:xfrm>
            <a:off x="12884163" y="4063363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80" name="Google Shape;80;p31"/>
          <p:cNvSpPr>
            <a:spLocks noGrp="1"/>
          </p:cNvSpPr>
          <p:nvPr>
            <p:ph type="pic" idx="4"/>
          </p:nvPr>
        </p:nvSpPr>
        <p:spPr>
          <a:xfrm>
            <a:off x="12884163" y="5925900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81" name="Google Shape;81;p31"/>
          <p:cNvSpPr>
            <a:spLocks noGrp="1"/>
          </p:cNvSpPr>
          <p:nvPr>
            <p:ph type="pic" idx="5"/>
          </p:nvPr>
        </p:nvSpPr>
        <p:spPr>
          <a:xfrm>
            <a:off x="12884163" y="7788425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82" name="Google Shape;82;p31"/>
          <p:cNvSpPr txBox="1">
            <a:spLocks noGrp="1"/>
          </p:cNvSpPr>
          <p:nvPr>
            <p:ph type="title"/>
          </p:nvPr>
        </p:nvSpPr>
        <p:spPr>
          <a:xfrm>
            <a:off x="1028700" y="1801650"/>
            <a:ext cx="6591300" cy="48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1"/>
          <p:cNvSpPr/>
          <p:nvPr/>
        </p:nvSpPr>
        <p:spPr>
          <a:xfrm>
            <a:off x="8800345" y="950476"/>
            <a:ext cx="1260564" cy="851408"/>
          </a:xfrm>
          <a:custGeom>
            <a:avLst/>
            <a:gdLst/>
            <a:ahLst/>
            <a:cxnLst/>
            <a:rect l="l" t="t" r="r" b="b"/>
            <a:pathLst>
              <a:path w="601701" h="406400" extrusionOk="0">
                <a:moveTo>
                  <a:pt x="398501" y="0"/>
                </a:moveTo>
                <a:cubicBezTo>
                  <a:pt x="510725" y="0"/>
                  <a:pt x="601701" y="90976"/>
                  <a:pt x="601701" y="203200"/>
                </a:cubicBezTo>
                <a:cubicBezTo>
                  <a:pt x="601701" y="315424"/>
                  <a:pt x="510725" y="406400"/>
                  <a:pt x="398501" y="406400"/>
                </a:cubicBezTo>
                <a:lnTo>
                  <a:pt x="203200" y="406400"/>
                </a:lnTo>
                <a:cubicBezTo>
                  <a:pt x="90976" y="406400"/>
                  <a:pt x="0" y="315424"/>
                  <a:pt x="0" y="203200"/>
                </a:cubicBezTo>
                <a:cubicBezTo>
                  <a:pt x="0" y="90976"/>
                  <a:pt x="90976" y="0"/>
                  <a:pt x="203200" y="0"/>
                </a:cubicBezTo>
                <a:close/>
              </a:path>
            </a:pathLst>
          </a:custGeom>
          <a:solidFill>
            <a:srgbClr val="6C25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4" name="Google Shape;84;p31"/>
          <p:cNvGrpSpPr/>
          <p:nvPr/>
        </p:nvGrpSpPr>
        <p:grpSpPr>
          <a:xfrm rot="-5400000">
            <a:off x="8280682" y="876278"/>
            <a:ext cx="856801" cy="1005184"/>
            <a:chOff x="0" y="-28575"/>
            <a:chExt cx="225658" cy="264738"/>
          </a:xfrm>
        </p:grpSpPr>
        <p:sp>
          <p:nvSpPr>
            <p:cNvPr id="85" name="Google Shape;85;p31"/>
            <p:cNvSpPr/>
            <p:nvPr/>
          </p:nvSpPr>
          <p:spPr>
            <a:xfrm>
              <a:off x="0" y="0"/>
              <a:ext cx="225658" cy="236163"/>
            </a:xfrm>
            <a:custGeom>
              <a:avLst/>
              <a:gdLst/>
              <a:ahLst/>
              <a:cxnLst/>
              <a:rect l="l" t="t" r="r" b="b"/>
              <a:pathLst>
                <a:path w="225658" h="236163" extrusionOk="0">
                  <a:moveTo>
                    <a:pt x="0" y="0"/>
                  </a:moveTo>
                  <a:lnTo>
                    <a:pt x="225658" y="0"/>
                  </a:lnTo>
                  <a:lnTo>
                    <a:pt x="225658" y="236163"/>
                  </a:lnTo>
                  <a:lnTo>
                    <a:pt x="0" y="236163"/>
                  </a:lnTo>
                  <a:close/>
                </a:path>
              </a:pathLst>
            </a:custGeom>
            <a:gradFill>
              <a:gsLst>
                <a:gs pos="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5400012" scaled="0"/>
            </a:gradFill>
            <a:ln>
              <a:noFill/>
            </a:ln>
          </p:spPr>
        </p:sp>
        <p:sp>
          <p:nvSpPr>
            <p:cNvPr id="86" name="Google Shape;86;p31"/>
            <p:cNvSpPr txBox="1"/>
            <p:nvPr/>
          </p:nvSpPr>
          <p:spPr>
            <a:xfrm>
              <a:off x="0" y="-28575"/>
              <a:ext cx="225600" cy="26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" name="Google Shape;87;p31"/>
          <p:cNvSpPr/>
          <p:nvPr/>
        </p:nvSpPr>
        <p:spPr>
          <a:xfrm>
            <a:off x="7886589" y="950476"/>
            <a:ext cx="857504" cy="857504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000000">
              <a:alpha val="0"/>
            </a:srgbClr>
          </a:solidFill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8" name="Google Shape;88;p31"/>
          <p:cNvGrpSpPr/>
          <p:nvPr/>
        </p:nvGrpSpPr>
        <p:grpSpPr>
          <a:xfrm>
            <a:off x="10243073" y="890631"/>
            <a:ext cx="1755631" cy="911021"/>
            <a:chOff x="0" y="-28575"/>
            <a:chExt cx="838290" cy="435000"/>
          </a:xfrm>
        </p:grpSpPr>
        <p:sp>
          <p:nvSpPr>
            <p:cNvPr id="89" name="Google Shape;89;p31"/>
            <p:cNvSpPr/>
            <p:nvPr/>
          </p:nvSpPr>
          <p:spPr>
            <a:xfrm>
              <a:off x="0" y="0"/>
              <a:ext cx="838290" cy="406400"/>
            </a:xfrm>
            <a:custGeom>
              <a:avLst/>
              <a:gdLst/>
              <a:ahLst/>
              <a:cxnLst/>
              <a:rect l="l" t="t" r="r" b="b"/>
              <a:pathLst>
                <a:path w="838290" h="406400" extrusionOk="0">
                  <a:moveTo>
                    <a:pt x="635090" y="0"/>
                  </a:moveTo>
                  <a:cubicBezTo>
                    <a:pt x="747315" y="0"/>
                    <a:pt x="838290" y="90976"/>
                    <a:pt x="838290" y="203200"/>
                  </a:cubicBezTo>
                  <a:cubicBezTo>
                    <a:pt x="838290" y="315424"/>
                    <a:pt x="747315" y="406400"/>
                    <a:pt x="635090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312F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90;p31"/>
            <p:cNvSpPr txBox="1"/>
            <p:nvPr/>
          </p:nvSpPr>
          <p:spPr>
            <a:xfrm>
              <a:off x="0" y="-28575"/>
              <a:ext cx="838200" cy="435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1" name="Google Shape;91;p31"/>
          <p:cNvGrpSpPr/>
          <p:nvPr/>
        </p:nvGrpSpPr>
        <p:grpSpPr>
          <a:xfrm>
            <a:off x="12304376" y="890631"/>
            <a:ext cx="2134536" cy="911021"/>
            <a:chOff x="0" y="-28575"/>
            <a:chExt cx="1019212" cy="435000"/>
          </a:xfrm>
        </p:grpSpPr>
        <p:sp>
          <p:nvSpPr>
            <p:cNvPr id="92" name="Google Shape;92;p31"/>
            <p:cNvSpPr/>
            <p:nvPr/>
          </p:nvSpPr>
          <p:spPr>
            <a:xfrm>
              <a:off x="0" y="0"/>
              <a:ext cx="1019212" cy="406400"/>
            </a:xfrm>
            <a:custGeom>
              <a:avLst/>
              <a:gdLst/>
              <a:ahLst/>
              <a:cxnLst/>
              <a:rect l="l" t="t" r="r" b="b"/>
              <a:pathLst>
                <a:path w="1019212" h="406400" extrusionOk="0">
                  <a:moveTo>
                    <a:pt x="816012" y="0"/>
                  </a:moveTo>
                  <a:cubicBezTo>
                    <a:pt x="928236" y="0"/>
                    <a:pt x="1019212" y="90976"/>
                    <a:pt x="1019212" y="203200"/>
                  </a:cubicBezTo>
                  <a:cubicBezTo>
                    <a:pt x="1019212" y="315424"/>
                    <a:pt x="928236" y="406400"/>
                    <a:pt x="816012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312F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93;p31"/>
            <p:cNvSpPr txBox="1"/>
            <p:nvPr/>
          </p:nvSpPr>
          <p:spPr>
            <a:xfrm>
              <a:off x="0" y="-28575"/>
              <a:ext cx="1019100" cy="435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4" name="Google Shape;94;p31"/>
          <p:cNvGrpSpPr/>
          <p:nvPr/>
        </p:nvGrpSpPr>
        <p:grpSpPr>
          <a:xfrm>
            <a:off x="14744576" y="890631"/>
            <a:ext cx="2746884" cy="911021"/>
            <a:chOff x="0" y="-28575"/>
            <a:chExt cx="1311600" cy="435000"/>
          </a:xfrm>
        </p:grpSpPr>
        <p:sp>
          <p:nvSpPr>
            <p:cNvPr id="95" name="Google Shape;95;p31"/>
            <p:cNvSpPr/>
            <p:nvPr/>
          </p:nvSpPr>
          <p:spPr>
            <a:xfrm>
              <a:off x="0" y="0"/>
              <a:ext cx="1311469" cy="406400"/>
            </a:xfrm>
            <a:custGeom>
              <a:avLst/>
              <a:gdLst/>
              <a:ahLst/>
              <a:cxnLst/>
              <a:rect l="l" t="t" r="r" b="b"/>
              <a:pathLst>
                <a:path w="1311469" h="406400" extrusionOk="0">
                  <a:moveTo>
                    <a:pt x="1108269" y="0"/>
                  </a:moveTo>
                  <a:cubicBezTo>
                    <a:pt x="1220493" y="0"/>
                    <a:pt x="1311469" y="90976"/>
                    <a:pt x="1311469" y="203200"/>
                  </a:cubicBezTo>
                  <a:cubicBezTo>
                    <a:pt x="1311469" y="315424"/>
                    <a:pt x="1220493" y="406400"/>
                    <a:pt x="1108269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312F3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96;p31"/>
            <p:cNvSpPr txBox="1"/>
            <p:nvPr/>
          </p:nvSpPr>
          <p:spPr>
            <a:xfrm>
              <a:off x="0" y="-28575"/>
              <a:ext cx="1311600" cy="435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7" name="Google Shape;97;p31"/>
          <p:cNvGrpSpPr/>
          <p:nvPr/>
        </p:nvGrpSpPr>
        <p:grpSpPr>
          <a:xfrm>
            <a:off x="9360848" y="2089276"/>
            <a:ext cx="3132780" cy="1578751"/>
            <a:chOff x="0" y="-28575"/>
            <a:chExt cx="825089" cy="415800"/>
          </a:xfrm>
        </p:grpSpPr>
        <p:sp>
          <p:nvSpPr>
            <p:cNvPr id="98" name="Google Shape;98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0" name="Google Shape;100;p31"/>
          <p:cNvGrpSpPr/>
          <p:nvPr/>
        </p:nvGrpSpPr>
        <p:grpSpPr>
          <a:xfrm>
            <a:off x="9360848" y="3959183"/>
            <a:ext cx="3132780" cy="1578751"/>
            <a:chOff x="0" y="-28575"/>
            <a:chExt cx="825089" cy="415800"/>
          </a:xfrm>
        </p:grpSpPr>
        <p:sp>
          <p:nvSpPr>
            <p:cNvPr id="101" name="Google Shape;101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02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3" name="Google Shape;103;p31"/>
          <p:cNvGrpSpPr/>
          <p:nvPr/>
        </p:nvGrpSpPr>
        <p:grpSpPr>
          <a:xfrm>
            <a:off x="9360848" y="5819565"/>
            <a:ext cx="3132780" cy="1578751"/>
            <a:chOff x="0" y="-28575"/>
            <a:chExt cx="825089" cy="415800"/>
          </a:xfrm>
        </p:grpSpPr>
        <p:sp>
          <p:nvSpPr>
            <p:cNvPr id="104" name="Google Shape;104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105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6" name="Google Shape;106;p31"/>
          <p:cNvGrpSpPr/>
          <p:nvPr/>
        </p:nvGrpSpPr>
        <p:grpSpPr>
          <a:xfrm>
            <a:off x="9360848" y="7679947"/>
            <a:ext cx="3132780" cy="1578751"/>
            <a:chOff x="0" y="-28575"/>
            <a:chExt cx="825089" cy="415800"/>
          </a:xfrm>
        </p:grpSpPr>
        <p:sp>
          <p:nvSpPr>
            <p:cNvPr id="107" name="Google Shape;107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08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9" name="Google Shape;109;p31"/>
          <p:cNvGrpSpPr/>
          <p:nvPr/>
        </p:nvGrpSpPr>
        <p:grpSpPr>
          <a:xfrm>
            <a:off x="14358391" y="2089276"/>
            <a:ext cx="3132780" cy="1578751"/>
            <a:chOff x="0" y="-28575"/>
            <a:chExt cx="825089" cy="415800"/>
          </a:xfrm>
        </p:grpSpPr>
        <p:sp>
          <p:nvSpPr>
            <p:cNvPr id="110" name="Google Shape;110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11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2" name="Google Shape;112;p31"/>
          <p:cNvGrpSpPr/>
          <p:nvPr/>
        </p:nvGrpSpPr>
        <p:grpSpPr>
          <a:xfrm>
            <a:off x="14358391" y="3959183"/>
            <a:ext cx="3132780" cy="1578751"/>
            <a:chOff x="0" y="-28575"/>
            <a:chExt cx="825089" cy="415800"/>
          </a:xfrm>
        </p:grpSpPr>
        <p:sp>
          <p:nvSpPr>
            <p:cNvPr id="113" name="Google Shape;113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14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5" name="Google Shape;115;p31"/>
          <p:cNvGrpSpPr/>
          <p:nvPr/>
        </p:nvGrpSpPr>
        <p:grpSpPr>
          <a:xfrm>
            <a:off x="14358391" y="5819565"/>
            <a:ext cx="3132780" cy="1578751"/>
            <a:chOff x="0" y="-28575"/>
            <a:chExt cx="825089" cy="415800"/>
          </a:xfrm>
        </p:grpSpPr>
        <p:sp>
          <p:nvSpPr>
            <p:cNvPr id="116" name="Google Shape;116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117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8" name="Google Shape;118;p31"/>
          <p:cNvGrpSpPr/>
          <p:nvPr/>
        </p:nvGrpSpPr>
        <p:grpSpPr>
          <a:xfrm>
            <a:off x="14358391" y="7679947"/>
            <a:ext cx="3132780" cy="1578751"/>
            <a:chOff x="0" y="-28575"/>
            <a:chExt cx="825089" cy="415800"/>
          </a:xfrm>
        </p:grpSpPr>
        <p:sp>
          <p:nvSpPr>
            <p:cNvPr id="119" name="Google Shape;119;p31"/>
            <p:cNvSpPr/>
            <p:nvPr/>
          </p:nvSpPr>
          <p:spPr>
            <a:xfrm>
              <a:off x="0" y="0"/>
              <a:ext cx="825089" cy="387123"/>
            </a:xfrm>
            <a:custGeom>
              <a:avLst/>
              <a:gdLst/>
              <a:ahLst/>
              <a:cxnLst/>
              <a:rect l="l" t="t" r="r" b="b"/>
              <a:pathLst>
                <a:path w="825089" h="387123" extrusionOk="0">
                  <a:moveTo>
                    <a:pt x="32127" y="0"/>
                  </a:moveTo>
                  <a:lnTo>
                    <a:pt x="792962" y="0"/>
                  </a:lnTo>
                  <a:cubicBezTo>
                    <a:pt x="810705" y="0"/>
                    <a:pt x="825089" y="14384"/>
                    <a:pt x="825089" y="32127"/>
                  </a:cubicBezTo>
                  <a:lnTo>
                    <a:pt x="825089" y="354996"/>
                  </a:lnTo>
                  <a:cubicBezTo>
                    <a:pt x="825089" y="372739"/>
                    <a:pt x="810705" y="387123"/>
                    <a:pt x="792962" y="387123"/>
                  </a:cubicBezTo>
                  <a:lnTo>
                    <a:pt x="32127" y="387123"/>
                  </a:lnTo>
                  <a:cubicBezTo>
                    <a:pt x="14384" y="387123"/>
                    <a:pt x="0" y="372739"/>
                    <a:pt x="0" y="354996"/>
                  </a:cubicBezTo>
                  <a:lnTo>
                    <a:pt x="0" y="32127"/>
                  </a:lnTo>
                  <a:cubicBezTo>
                    <a:pt x="0" y="14384"/>
                    <a:pt x="14384" y="0"/>
                    <a:pt x="32127" y="0"/>
                  </a:cubicBezTo>
                  <a:close/>
                </a:path>
              </a:pathLst>
            </a:custGeom>
            <a:gradFill>
              <a:gsLst>
                <a:gs pos="0">
                  <a:srgbClr val="312F32"/>
                </a:gs>
                <a:gs pos="100000">
                  <a:srgbClr val="00000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120;p31"/>
            <p:cNvSpPr txBox="1"/>
            <p:nvPr/>
          </p:nvSpPr>
          <p:spPr>
            <a:xfrm>
              <a:off x="0" y="-28575"/>
              <a:ext cx="825000" cy="41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" name="Google Shape;121;p31"/>
          <p:cNvSpPr txBox="1"/>
          <p:nvPr/>
        </p:nvSpPr>
        <p:spPr>
          <a:xfrm>
            <a:off x="8800345" y="1188750"/>
            <a:ext cx="1260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1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79"/>
              <a:buFont typeface="Arial"/>
              <a:buNone/>
            </a:pPr>
            <a:r>
              <a:rPr lang="en-US" sz="2279" b="0" i="0" u="none" strike="noStrike" cap="none">
                <a:solidFill>
                  <a:srgbClr val="000000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Al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Google Shape;122;p31"/>
          <p:cNvSpPr txBox="1"/>
          <p:nvPr/>
        </p:nvSpPr>
        <p:spPr>
          <a:xfrm>
            <a:off x="10243073" y="1188750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1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79"/>
              <a:buFont typeface="Arial"/>
              <a:buNone/>
            </a:pPr>
            <a:r>
              <a:rPr lang="en-US" sz="2279" b="0" i="0" u="none" strike="noStrike" cap="none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Musi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31"/>
          <p:cNvSpPr txBox="1"/>
          <p:nvPr/>
        </p:nvSpPr>
        <p:spPr>
          <a:xfrm>
            <a:off x="12304376" y="1188750"/>
            <a:ext cx="21345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1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79"/>
              <a:buFont typeface="Arial"/>
              <a:buNone/>
            </a:pPr>
            <a:r>
              <a:rPr lang="en-US" sz="2279" b="0" i="0" u="none" strike="noStrike" cap="none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Podcas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31"/>
          <p:cNvSpPr txBox="1"/>
          <p:nvPr/>
        </p:nvSpPr>
        <p:spPr>
          <a:xfrm>
            <a:off x="14744576" y="1188750"/>
            <a:ext cx="27465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1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79"/>
              <a:buFont typeface="Arial"/>
              <a:buNone/>
            </a:pPr>
            <a:r>
              <a:rPr lang="en-US" sz="2279" b="0" i="0" u="none" strike="noStrike" cap="none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Audioboo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31"/>
          <p:cNvSpPr txBox="1">
            <a:spLocks noGrp="1"/>
          </p:cNvSpPr>
          <p:nvPr>
            <p:ph type="body" idx="1"/>
          </p:nvPr>
        </p:nvSpPr>
        <p:spPr>
          <a:xfrm>
            <a:off x="1028700" y="6664950"/>
            <a:ext cx="4865400" cy="24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1pPr>
            <a:lvl2pPr marL="914400" lvl="1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2pPr>
            <a:lvl3pPr marL="1371600" lvl="2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3pPr>
            <a:lvl4pPr marL="1828800" lvl="3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–"/>
              <a:defRPr/>
            </a:lvl4pPr>
            <a:lvl5pPr marL="2286000" lvl="4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»"/>
              <a:defRPr/>
            </a:lvl5pPr>
            <a:lvl6pPr marL="2743200" lvl="5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6pPr>
            <a:lvl7pPr marL="3200400" lvl="6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7pPr>
            <a:lvl8pPr marL="3657600" lvl="7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8pPr>
            <a:lvl9pPr marL="4114800" lvl="8" indent="-365125" algn="l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SzPts val="215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31"/>
          <p:cNvSpPr txBox="1">
            <a:spLocks noGrp="1"/>
          </p:cNvSpPr>
          <p:nvPr>
            <p:ph type="title" idx="6"/>
          </p:nvPr>
        </p:nvSpPr>
        <p:spPr>
          <a:xfrm>
            <a:off x="9848175" y="272142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27" name="Google Shape;127;p31"/>
          <p:cNvSpPr txBox="1">
            <a:spLocks noGrp="1"/>
          </p:cNvSpPr>
          <p:nvPr>
            <p:ph type="title" idx="7"/>
          </p:nvPr>
        </p:nvSpPr>
        <p:spPr>
          <a:xfrm>
            <a:off x="9848175" y="4627263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28" name="Google Shape;128;p31"/>
          <p:cNvSpPr txBox="1">
            <a:spLocks noGrp="1"/>
          </p:cNvSpPr>
          <p:nvPr>
            <p:ph type="title" idx="8"/>
          </p:nvPr>
        </p:nvSpPr>
        <p:spPr>
          <a:xfrm>
            <a:off x="9848175" y="643357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29" name="Google Shape;129;p31"/>
          <p:cNvSpPr txBox="1">
            <a:spLocks noGrp="1"/>
          </p:cNvSpPr>
          <p:nvPr>
            <p:ph type="title" idx="9"/>
          </p:nvPr>
        </p:nvSpPr>
        <p:spPr>
          <a:xfrm>
            <a:off x="9848175" y="834802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30" name="Google Shape;130;p31"/>
          <p:cNvSpPr txBox="1">
            <a:spLocks noGrp="1"/>
          </p:cNvSpPr>
          <p:nvPr>
            <p:ph type="title" idx="13"/>
          </p:nvPr>
        </p:nvSpPr>
        <p:spPr>
          <a:xfrm>
            <a:off x="14748900" y="272142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31" name="Google Shape;131;p31"/>
          <p:cNvSpPr txBox="1">
            <a:spLocks noGrp="1"/>
          </p:cNvSpPr>
          <p:nvPr>
            <p:ph type="title" idx="14"/>
          </p:nvPr>
        </p:nvSpPr>
        <p:spPr>
          <a:xfrm>
            <a:off x="14748900" y="4627263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32" name="Google Shape;132;p31"/>
          <p:cNvSpPr txBox="1">
            <a:spLocks noGrp="1"/>
          </p:cNvSpPr>
          <p:nvPr>
            <p:ph type="title" idx="15"/>
          </p:nvPr>
        </p:nvSpPr>
        <p:spPr>
          <a:xfrm>
            <a:off x="14748900" y="643357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33" name="Google Shape;133;p31"/>
          <p:cNvSpPr txBox="1">
            <a:spLocks noGrp="1"/>
          </p:cNvSpPr>
          <p:nvPr>
            <p:ph type="title" idx="16"/>
          </p:nvPr>
        </p:nvSpPr>
        <p:spPr>
          <a:xfrm>
            <a:off x="14748900" y="8348025"/>
            <a:ext cx="17556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League Spartan"/>
              <a:buNone/>
              <a:defRPr sz="2250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League Spartan"/>
              <a:buNone/>
              <a:defRPr>
                <a:latin typeface="League Spartan"/>
                <a:ea typeface="League Spartan"/>
                <a:cs typeface="League Spartan"/>
                <a:sym typeface="League Spartan"/>
              </a:defRPr>
            </a:lvl9pPr>
          </a:lstStyle>
          <a:p>
            <a:endParaRPr/>
          </a:p>
        </p:txBody>
      </p:sp>
      <p:sp>
        <p:nvSpPr>
          <p:cNvPr id="134" name="Google Shape;134;p31"/>
          <p:cNvSpPr>
            <a:spLocks noGrp="1"/>
          </p:cNvSpPr>
          <p:nvPr>
            <p:ph type="pic" idx="17"/>
          </p:nvPr>
        </p:nvSpPr>
        <p:spPr>
          <a:xfrm>
            <a:off x="7886475" y="2198025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135" name="Google Shape;135;p31"/>
          <p:cNvSpPr>
            <a:spLocks noGrp="1"/>
          </p:cNvSpPr>
          <p:nvPr>
            <p:ph type="pic" idx="18"/>
          </p:nvPr>
        </p:nvSpPr>
        <p:spPr>
          <a:xfrm>
            <a:off x="7886475" y="4063363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136" name="Google Shape;136;p31"/>
          <p:cNvSpPr>
            <a:spLocks noGrp="1"/>
          </p:cNvSpPr>
          <p:nvPr>
            <p:ph type="pic" idx="19"/>
          </p:nvPr>
        </p:nvSpPr>
        <p:spPr>
          <a:xfrm>
            <a:off x="7886475" y="5925900"/>
            <a:ext cx="1474200" cy="1469700"/>
          </a:xfrm>
          <a:prstGeom prst="rect">
            <a:avLst/>
          </a:prstGeom>
          <a:noFill/>
          <a:ln>
            <a:noFill/>
          </a:ln>
        </p:spPr>
      </p:sp>
      <p:sp>
        <p:nvSpPr>
          <p:cNvPr id="137" name="Google Shape;137;p31"/>
          <p:cNvSpPr>
            <a:spLocks noGrp="1"/>
          </p:cNvSpPr>
          <p:nvPr>
            <p:ph type="pic" idx="20"/>
          </p:nvPr>
        </p:nvSpPr>
        <p:spPr>
          <a:xfrm>
            <a:off x="7886475" y="7788425"/>
            <a:ext cx="1474200" cy="14697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F22C6D3-5651-0892-F68B-3495DAB02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568526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3"/>
          <p:cNvSpPr txBox="1">
            <a:spLocks noGrp="1"/>
          </p:cNvSpPr>
          <p:nvPr>
            <p:ph type="title"/>
          </p:nvPr>
        </p:nvSpPr>
        <p:spPr>
          <a:xfrm>
            <a:off x="1575350" y="1140963"/>
            <a:ext cx="10972800" cy="314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0000"/>
              <a:buFont typeface="League Spartan ExtraBold"/>
              <a:buNone/>
              <a:defRPr sz="10000" b="0" i="0" u="none" strike="noStrike" cap="none">
                <a:solidFill>
                  <a:srgbClr val="23DC6D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3"/>
          <p:cNvSpPr txBox="1">
            <a:spLocks noGrp="1"/>
          </p:cNvSpPr>
          <p:nvPr>
            <p:ph type="body" idx="1"/>
          </p:nvPr>
        </p:nvSpPr>
        <p:spPr>
          <a:xfrm>
            <a:off x="1575350" y="4619938"/>
            <a:ext cx="82296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–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–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»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65125" algn="l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emf"/><Relationship Id="rId9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www.tecmint.com/best-linux-audio-music-players/3/" TargetMode="External"/><Relationship Id="rId4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"/>
          <p:cNvSpPr txBox="1"/>
          <p:nvPr/>
        </p:nvSpPr>
        <p:spPr>
          <a:xfrm>
            <a:off x="257623" y="3099139"/>
            <a:ext cx="17838600" cy="2954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132"/>
              <a:buFont typeface="Arial"/>
              <a:buNone/>
            </a:pPr>
            <a:r>
              <a:rPr lang="en-US" sz="96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The Future of Music Investment</a:t>
            </a:r>
            <a:r>
              <a:rPr lang="en-US" sz="120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-</a:t>
            </a:r>
            <a:r>
              <a:rPr lang="en-US" sz="60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Leveraging</a:t>
            </a:r>
            <a:r>
              <a:rPr lang="en-US" sz="120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 </a:t>
            </a:r>
            <a:r>
              <a:rPr lang="en-US" sz="60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Data Analytics for hit song production</a:t>
            </a:r>
            <a:endParaRPr sz="6000" b="1">
              <a:solidFill>
                <a:srgbClr val="23DC6D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149" name="Google Shape;149;p1"/>
          <p:cNvSpPr txBox="1"/>
          <p:nvPr/>
        </p:nvSpPr>
        <p:spPr>
          <a:xfrm>
            <a:off x="3352657" y="6284051"/>
            <a:ext cx="11582700" cy="2240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</a:pPr>
            <a:r>
              <a:rPr lang="en-US" sz="52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Team 2: Unparalleled</a:t>
            </a:r>
          </a:p>
          <a:p>
            <a:pPr algn="ctr">
              <a:lnSpc>
                <a:spcPct val="140000"/>
              </a:lnSpc>
              <a:buSzPts val="5200"/>
            </a:pPr>
            <a:endParaRPr lang="en-US" sz="5200" b="1">
              <a:solidFill>
                <a:srgbClr val="FFFFFF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50" name="Google Shape;150;p1"/>
          <p:cNvSpPr/>
          <p:nvPr/>
        </p:nvSpPr>
        <p:spPr>
          <a:xfrm>
            <a:off x="-4622363" y="6700702"/>
            <a:ext cx="8575663" cy="8564074"/>
          </a:xfrm>
          <a:custGeom>
            <a:avLst/>
            <a:gdLst/>
            <a:ahLst/>
            <a:cxnLst/>
            <a:rect l="l" t="t" r="r" b="b"/>
            <a:pathLst>
              <a:path w="8575663" h="8564074" extrusionOk="0">
                <a:moveTo>
                  <a:pt x="0" y="0"/>
                </a:moveTo>
                <a:lnTo>
                  <a:pt x="8575663" y="0"/>
                </a:lnTo>
                <a:lnTo>
                  <a:pt x="8575663" y="8564074"/>
                </a:lnTo>
                <a:lnTo>
                  <a:pt x="0" y="85640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51" name="Google Shape;151;p1"/>
          <p:cNvSpPr/>
          <p:nvPr/>
        </p:nvSpPr>
        <p:spPr>
          <a:xfrm rot="16200000">
            <a:off x="14272864" y="-3668965"/>
            <a:ext cx="6439219" cy="6439219"/>
          </a:xfrm>
          <a:custGeom>
            <a:avLst/>
            <a:gdLst/>
            <a:ahLst/>
            <a:cxnLst/>
            <a:rect l="l" t="t" r="r" b="b"/>
            <a:pathLst>
              <a:path w="6439219" h="6439219" extrusionOk="0">
                <a:moveTo>
                  <a:pt x="0" y="0"/>
                </a:moveTo>
                <a:lnTo>
                  <a:pt x="6439218" y="0"/>
                </a:lnTo>
                <a:lnTo>
                  <a:pt x="6439218" y="6439219"/>
                </a:lnTo>
                <a:lnTo>
                  <a:pt x="0" y="643921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pic>
        <p:nvPicPr>
          <p:cNvPr id="152" name="Google Shape;152;p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93700" y="213000"/>
            <a:ext cx="2865042" cy="861900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1"/>
          <p:cNvSpPr txBox="1"/>
          <p:nvPr/>
        </p:nvSpPr>
        <p:spPr>
          <a:xfrm>
            <a:off x="5382620" y="7412448"/>
            <a:ext cx="752280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</a:pP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Ivan </a:t>
            </a:r>
            <a:r>
              <a:rPr lang="en-US" sz="2800" err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Chichikin</a:t>
            </a: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US" sz="2800" err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Dindo</a:t>
            </a: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Marco </a:t>
            </a:r>
            <a:r>
              <a:rPr lang="en-US" sz="2800" err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Dioso</a:t>
            </a: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, Ted Mao,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</a:pP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Isha Deshmukh, Archita </a:t>
            </a:r>
            <a:r>
              <a:rPr lang="en-US" sz="2800" err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Dhande</a:t>
            </a:r>
            <a:r>
              <a:rPr lang="en-US" sz="28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, Shalini Kumari</a:t>
            </a:r>
            <a:endParaRPr sz="2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5EA075-50E8-2C06-EB90-C1D4C705056C}"/>
              </a:ext>
            </a:extLst>
          </p:cNvPr>
          <p:cNvSpPr txBox="1"/>
          <p:nvPr/>
        </p:nvSpPr>
        <p:spPr>
          <a:xfrm>
            <a:off x="8811491" y="9235624"/>
            <a:ext cx="8163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DSO-528, Blended data Analytics-Final pres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1" name="Google Shape;231;g31abfd2b4e9_0_188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32" name="Google Shape;232;g31abfd2b4e9_0_188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lIns="91440" tIns="45720" rIns="91440" bIns="45720" anchor="t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3" name="Google Shape;233;g31abfd2b4e9_0_188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lang="en-US"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234" name="Google Shape;234;g31abfd2b4e9_0_188"/>
          <p:cNvSpPr txBox="1"/>
          <p:nvPr/>
        </p:nvSpPr>
        <p:spPr>
          <a:xfrm>
            <a:off x="2721605" y="744292"/>
            <a:ext cx="43683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Regression</a:t>
            </a:r>
            <a:endParaRPr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5" name="Google Shape;235;g31abfd2b4e9_0_188"/>
          <p:cNvSpPr txBox="1"/>
          <p:nvPr/>
        </p:nvSpPr>
        <p:spPr>
          <a:xfrm>
            <a:off x="882362" y="744292"/>
            <a:ext cx="7992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 i="0" u="none" strike="noStrike" cap="none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1</a:t>
            </a:r>
            <a:endParaRPr lang="en-US"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2" name="Picture 1" descr="A screenshot of a performance report&#10;&#10;Description automatically generated">
            <a:extLst>
              <a:ext uri="{FF2B5EF4-FFF2-40B4-BE49-F238E27FC236}">
                <a16:creationId xmlns:a16="http://schemas.microsoft.com/office/drawing/2014/main" id="{F67FB2E9-6185-B92C-D292-886DCB5E4F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047" y="2224668"/>
            <a:ext cx="7296150" cy="23622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54831676-0849-7B06-E27D-424A0A2B92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511" y="5445203"/>
            <a:ext cx="7467600" cy="1466850"/>
          </a:xfrm>
          <a:prstGeom prst="rect">
            <a:avLst/>
          </a:prstGeom>
        </p:spPr>
      </p:pic>
      <p:pic>
        <p:nvPicPr>
          <p:cNvPr id="4" name="Picture 3" descr="A screenshot of a phone number&#10;&#10;Description automatically generated">
            <a:extLst>
              <a:ext uri="{FF2B5EF4-FFF2-40B4-BE49-F238E27FC236}">
                <a16:creationId xmlns:a16="http://schemas.microsoft.com/office/drawing/2014/main" id="{2FA435B9-1D73-CF8B-F16E-ECE889E426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047" y="7939667"/>
            <a:ext cx="7524750" cy="1504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6F0AEC-FFB3-A023-EF8D-07E8D18C67F3}"/>
              </a:ext>
            </a:extLst>
          </p:cNvPr>
          <p:cNvSpPr txBox="1"/>
          <p:nvPr/>
        </p:nvSpPr>
        <p:spPr>
          <a:xfrm>
            <a:off x="7815147" y="3057293"/>
            <a:ext cx="10435682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0" lvl="7"/>
            <a:r>
              <a:rPr lang="en-US" sz="4000">
                <a:solidFill>
                  <a:schemeClr val="bg1"/>
                </a:solidFill>
              </a:rPr>
              <a:t>Outliers Removal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3CA0E6-1471-A23D-9161-1BE0747A885E}"/>
              </a:ext>
            </a:extLst>
          </p:cNvPr>
          <p:cNvSpPr txBox="1"/>
          <p:nvPr/>
        </p:nvSpPr>
        <p:spPr>
          <a:xfrm>
            <a:off x="7982415" y="5826512"/>
            <a:ext cx="10129023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657600" lvl="8"/>
            <a:r>
              <a:rPr lang="en-US" sz="4000">
                <a:solidFill>
                  <a:schemeClr val="bg1"/>
                </a:solidFill>
              </a:rPr>
              <a:t>Interaction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B380B6-64F0-BC62-5FB7-38C65EFBFD70}"/>
              </a:ext>
            </a:extLst>
          </p:cNvPr>
          <p:cNvSpPr txBox="1"/>
          <p:nvPr/>
        </p:nvSpPr>
        <p:spPr>
          <a:xfrm>
            <a:off x="8038171" y="8335536"/>
            <a:ext cx="10184779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0" lvl="7"/>
            <a:r>
              <a:rPr lang="en-US" sz="4000">
                <a:solidFill>
                  <a:schemeClr val="bg1"/>
                </a:solidFill>
              </a:rPr>
              <a:t>Backward Selection</a:t>
            </a:r>
            <a:endParaRPr 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>
    <p:push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2" name="Google Shape;242;g31abfd2b4e9_0_418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43" name="Google Shape;243;g31abfd2b4e9_0_418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Google Shape;244;g31abfd2b4e9_0_418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5" name="Google Shape;245;g31abfd2b4e9_0_418"/>
          <p:cNvSpPr txBox="1"/>
          <p:nvPr/>
        </p:nvSpPr>
        <p:spPr>
          <a:xfrm>
            <a:off x="2721605" y="744292"/>
            <a:ext cx="43683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Regression</a:t>
            </a:r>
            <a:endParaRPr lang="en-US"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g31abfd2b4e9_0_418"/>
          <p:cNvSpPr txBox="1"/>
          <p:nvPr/>
        </p:nvSpPr>
        <p:spPr>
          <a:xfrm>
            <a:off x="882362" y="744292"/>
            <a:ext cx="7992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 i="0" u="none" strike="noStrike" cap="none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1</a:t>
            </a:r>
            <a:endParaRPr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A chart with different colored squares&#10;&#10;Description automatically generated">
            <a:extLst>
              <a:ext uri="{FF2B5EF4-FFF2-40B4-BE49-F238E27FC236}">
                <a16:creationId xmlns:a16="http://schemas.microsoft.com/office/drawing/2014/main" id="{94A6B310-742A-94E5-11A3-DE93C3951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4513" y="2875156"/>
            <a:ext cx="5980242" cy="6172200"/>
          </a:xfrm>
          <a:prstGeom prst="rect">
            <a:avLst/>
          </a:prstGeom>
        </p:spPr>
      </p:pic>
      <p:pic>
        <p:nvPicPr>
          <p:cNvPr id="3" name="Picture 2" descr="A blue squares with white text&#10;&#10;Description automatically generated">
            <a:extLst>
              <a:ext uri="{FF2B5EF4-FFF2-40B4-BE49-F238E27FC236}">
                <a16:creationId xmlns:a16="http://schemas.microsoft.com/office/drawing/2014/main" id="{161A8DCB-E6AA-76A5-ACE7-8620B466DD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6108" y="2844334"/>
            <a:ext cx="5999211" cy="62093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70831-31C6-BF5A-25DB-156C7ACA464B}"/>
              </a:ext>
            </a:extLst>
          </p:cNvPr>
          <p:cNvSpPr txBox="1"/>
          <p:nvPr/>
        </p:nvSpPr>
        <p:spPr>
          <a:xfrm>
            <a:off x="1282390" y="2313877"/>
            <a:ext cx="602165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Backward Sele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1DAF1D-0169-4777-1DB9-C579F372EEBB}"/>
              </a:ext>
            </a:extLst>
          </p:cNvPr>
          <p:cNvSpPr txBox="1"/>
          <p:nvPr/>
        </p:nvSpPr>
        <p:spPr>
          <a:xfrm>
            <a:off x="10296292" y="2313877"/>
            <a:ext cx="602165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Standardized</a:t>
            </a:r>
            <a:endParaRPr lang="en-US"/>
          </a:p>
        </p:txBody>
      </p:sp>
    </p:spTree>
  </p:cSld>
  <p:clrMapOvr>
    <a:masterClrMapping/>
  </p:clrMapOvr>
  <p:transition spd="slow"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2" name="Google Shape;242;g31abfd2b4e9_0_418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43" name="Google Shape;243;g31abfd2b4e9_0_418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Google Shape;244;g31abfd2b4e9_0_418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5" name="Google Shape;245;g31abfd2b4e9_0_418"/>
          <p:cNvSpPr txBox="1"/>
          <p:nvPr/>
        </p:nvSpPr>
        <p:spPr>
          <a:xfrm>
            <a:off x="2721605" y="744292"/>
            <a:ext cx="43683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Regression</a:t>
            </a:r>
            <a:endParaRPr lang="en-US"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g31abfd2b4e9_0_418"/>
          <p:cNvSpPr txBox="1"/>
          <p:nvPr/>
        </p:nvSpPr>
        <p:spPr>
          <a:xfrm>
            <a:off x="882362" y="744292"/>
            <a:ext cx="7992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28"/>
              <a:buFont typeface="Arial"/>
              <a:buNone/>
            </a:pPr>
            <a:r>
              <a:rPr lang="en-US" sz="3600" b="1" i="0" u="none" strike="noStrike" cap="none">
                <a:solidFill>
                  <a:schemeClr val="tx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1</a:t>
            </a:r>
            <a:endParaRPr sz="3600" b="1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91E11C47-9801-6CBD-2221-618AB0C971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415" y="2023794"/>
            <a:ext cx="17154292" cy="790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037161"/>
      </p:ext>
    </p:extLst>
  </p:cSld>
  <p:clrMapOvr>
    <a:masterClrMapping/>
  </p:clrMapOvr>
  <p:transition spd="slow"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5" name="Google Shape;255;g31abfd2b4e9_0_237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56" name="Google Shape;256;g31abfd2b4e9_0_237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6C25FF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Google Shape;257;g31abfd2b4e9_0_237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8" name="Google Shape;258;g31abfd2b4e9_0_237"/>
          <p:cNvSpPr txBox="1"/>
          <p:nvPr/>
        </p:nvSpPr>
        <p:spPr>
          <a:xfrm>
            <a:off x="2721605" y="744292"/>
            <a:ext cx="43683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Decision Trees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59" name="Google Shape;259;g31abfd2b4e9_0_237"/>
          <p:cNvSpPr txBox="1"/>
          <p:nvPr/>
        </p:nvSpPr>
        <p:spPr>
          <a:xfrm>
            <a:off x="882362" y="744292"/>
            <a:ext cx="7992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2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CE1CEB20-FE31-53E0-DCE0-851DEE41ED54}"/>
              </a:ext>
            </a:extLst>
          </p:cNvPr>
          <p:cNvSpPr txBox="1"/>
          <p:nvPr/>
        </p:nvSpPr>
        <p:spPr>
          <a:xfrm>
            <a:off x="290946" y="2394729"/>
            <a:ext cx="10259290" cy="686341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 b="1">
                <a:solidFill>
                  <a:srgbClr val="00B050"/>
                </a:solidFill>
              </a:rPr>
              <a:t>Why Decision Tree?</a:t>
            </a:r>
          </a:p>
          <a:p>
            <a:endParaRPr lang="en-US" sz="2000" b="1">
              <a:solidFill>
                <a:srgbClr val="00B050"/>
              </a:solidFill>
            </a:endParaRPr>
          </a:p>
          <a:p>
            <a:pPr>
              <a:buFont typeface=""/>
              <a:buChar char="•"/>
            </a:pPr>
            <a:r>
              <a:rPr lang="en-US" sz="2000" b="1">
                <a:solidFill>
                  <a:schemeClr val="bg1"/>
                </a:solidFill>
              </a:rPr>
              <a:t>Simplicity &amp; Interpretability:</a:t>
            </a:r>
            <a:r>
              <a:rPr lang="en-US" sz="2000">
                <a:solidFill>
                  <a:schemeClr val="bg1"/>
                </a:solidFill>
              </a:rPr>
              <a:t> Easy to interpret and visualize, making it ideal for understanding the decision-making process.</a:t>
            </a:r>
          </a:p>
          <a:p>
            <a:pPr>
              <a:buFont typeface="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pPr>
              <a:buFont typeface=""/>
              <a:buChar char="•"/>
            </a:pPr>
            <a:r>
              <a:rPr lang="en-US" sz="2000" b="1">
                <a:solidFill>
                  <a:schemeClr val="bg1"/>
                </a:solidFill>
              </a:rPr>
              <a:t>Key Insights:</a:t>
            </a:r>
            <a:r>
              <a:rPr lang="en-US" sz="2000">
                <a:solidFill>
                  <a:schemeClr val="bg1"/>
                </a:solidFill>
              </a:rPr>
              <a:t> Excellent feature interaction capture for features like energy, loudness, and </a:t>
            </a:r>
            <a:r>
              <a:rPr lang="en-US" sz="2000" err="1">
                <a:solidFill>
                  <a:schemeClr val="bg1"/>
                </a:solidFill>
              </a:rPr>
              <a:t>instrumentalness</a:t>
            </a:r>
            <a:r>
              <a:rPr lang="en-US" sz="2000">
                <a:solidFill>
                  <a:schemeClr val="bg1"/>
                </a:solidFill>
              </a:rPr>
              <a:t>.</a:t>
            </a:r>
          </a:p>
          <a:p>
            <a:pPr>
              <a:buFont typeface="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r>
              <a:rPr lang="en-US" sz="2000" b="1">
                <a:solidFill>
                  <a:srgbClr val="00B050"/>
                </a:solidFill>
              </a:rPr>
              <a:t>Feature Importance for Models:</a:t>
            </a:r>
            <a:endParaRPr lang="en-US" sz="2000"/>
          </a:p>
          <a:p>
            <a:pPr marL="285750" indent="-285750">
              <a:buFont typeface="Arial"/>
              <a:buChar char="•"/>
            </a:pPr>
            <a:endParaRPr lang="en-US" sz="2000"/>
          </a:p>
          <a:p>
            <a:pPr marL="285750" indent="-285750">
              <a:buChar char="•"/>
            </a:pPr>
            <a:r>
              <a:rPr lang="en-US" sz="2000" b="1">
                <a:solidFill>
                  <a:schemeClr val="bg1"/>
                </a:solidFill>
              </a:rPr>
              <a:t>Decision Tree:</a:t>
            </a:r>
            <a:r>
              <a:rPr lang="en-US" sz="2000">
                <a:solidFill>
                  <a:schemeClr val="bg1"/>
                </a:solidFill>
              </a:rPr>
              <a:t> </a:t>
            </a:r>
            <a:r>
              <a:rPr lang="en-US" sz="2000" err="1">
                <a:solidFill>
                  <a:schemeClr val="bg1"/>
                </a:solidFill>
              </a:rPr>
              <a:t>Instrumentalness</a:t>
            </a:r>
            <a:r>
              <a:rPr lang="en-US" sz="2000">
                <a:solidFill>
                  <a:schemeClr val="bg1"/>
                </a:solidFill>
              </a:rPr>
              <a:t>, Energy, </a:t>
            </a:r>
            <a:r>
              <a:rPr lang="en-US" sz="2000" err="1">
                <a:solidFill>
                  <a:schemeClr val="bg1"/>
                </a:solidFill>
              </a:rPr>
              <a:t>Duration_ms</a:t>
            </a:r>
            <a:r>
              <a:rPr lang="en-US" sz="2000">
                <a:solidFill>
                  <a:schemeClr val="bg1"/>
                </a:solidFill>
              </a:rPr>
              <a:t>, Loudness, </a:t>
            </a:r>
            <a:r>
              <a:rPr lang="en-US" sz="2000" err="1">
                <a:solidFill>
                  <a:schemeClr val="bg1"/>
                </a:solidFill>
              </a:rPr>
              <a:t>Acousticness</a:t>
            </a:r>
          </a:p>
          <a:p>
            <a:pPr marL="285750" indent="-285750">
              <a:buFont typeface="Arial"/>
              <a:buChar char="•"/>
            </a:pPr>
            <a:r>
              <a:rPr lang="en-US" sz="2000" b="1">
                <a:solidFill>
                  <a:schemeClr val="bg1"/>
                </a:solidFill>
              </a:rPr>
              <a:t>Random Forest:</a:t>
            </a:r>
            <a:r>
              <a:rPr lang="en-US" sz="2000">
                <a:solidFill>
                  <a:schemeClr val="bg1"/>
                </a:solidFill>
              </a:rPr>
              <a:t> </a:t>
            </a:r>
            <a:r>
              <a:rPr lang="en-US" sz="2000" err="1">
                <a:solidFill>
                  <a:schemeClr val="bg1"/>
                </a:solidFill>
              </a:rPr>
              <a:t>Instrumentalness</a:t>
            </a:r>
            <a:r>
              <a:rPr lang="en-US" sz="2000">
                <a:solidFill>
                  <a:schemeClr val="bg1"/>
                </a:solidFill>
              </a:rPr>
              <a:t>, </a:t>
            </a:r>
            <a:r>
              <a:rPr lang="en-US" sz="2000" err="1">
                <a:solidFill>
                  <a:schemeClr val="bg1"/>
                </a:solidFill>
              </a:rPr>
              <a:t>Loudiness</a:t>
            </a:r>
            <a:r>
              <a:rPr lang="en-US" sz="2000">
                <a:solidFill>
                  <a:schemeClr val="bg1"/>
                </a:solidFill>
              </a:rPr>
              <a:t>, </a:t>
            </a:r>
            <a:r>
              <a:rPr lang="en-US" sz="2000" err="1">
                <a:solidFill>
                  <a:schemeClr val="bg1"/>
                </a:solidFill>
              </a:rPr>
              <a:t>Duration_ms</a:t>
            </a:r>
            <a:r>
              <a:rPr lang="en-US" sz="2000">
                <a:solidFill>
                  <a:schemeClr val="bg1"/>
                </a:solidFill>
              </a:rPr>
              <a:t>, </a:t>
            </a:r>
            <a:r>
              <a:rPr lang="en-US" sz="2000" err="1">
                <a:solidFill>
                  <a:schemeClr val="bg1"/>
                </a:solidFill>
              </a:rPr>
              <a:t>Acoustiness</a:t>
            </a:r>
            <a:r>
              <a:rPr lang="en-US" sz="2000">
                <a:solidFill>
                  <a:schemeClr val="bg1"/>
                </a:solidFill>
              </a:rPr>
              <a:t>, Energy</a:t>
            </a:r>
          </a:p>
          <a:p>
            <a:pPr marL="285750" indent="-285750">
              <a:buFont typeface="Arial"/>
              <a:buChar char="•"/>
            </a:pPr>
            <a:r>
              <a:rPr lang="en-US" sz="2000" b="1">
                <a:solidFill>
                  <a:schemeClr val="bg1"/>
                </a:solidFill>
              </a:rPr>
              <a:t>Gradient Boosting:</a:t>
            </a:r>
            <a:r>
              <a:rPr lang="en-US" sz="2000">
                <a:solidFill>
                  <a:schemeClr val="bg1"/>
                </a:solidFill>
              </a:rPr>
              <a:t> </a:t>
            </a:r>
            <a:r>
              <a:rPr lang="en-US" sz="2000" err="1">
                <a:solidFill>
                  <a:schemeClr val="bg1"/>
                </a:solidFill>
              </a:rPr>
              <a:t>Instrumentalness</a:t>
            </a:r>
            <a:r>
              <a:rPr lang="en-US" sz="2000">
                <a:solidFill>
                  <a:schemeClr val="bg1"/>
                </a:solidFill>
              </a:rPr>
              <a:t>, Loudness, </a:t>
            </a:r>
            <a:r>
              <a:rPr lang="en-US" sz="2000" err="1">
                <a:solidFill>
                  <a:schemeClr val="bg1"/>
                </a:solidFill>
              </a:rPr>
              <a:t>Duration_ms</a:t>
            </a:r>
            <a:r>
              <a:rPr lang="en-US" sz="2000">
                <a:solidFill>
                  <a:schemeClr val="bg1"/>
                </a:solidFill>
              </a:rPr>
              <a:t>, Energy, </a:t>
            </a:r>
            <a:r>
              <a:rPr lang="en-US" sz="2000" err="1">
                <a:solidFill>
                  <a:schemeClr val="bg1"/>
                </a:solidFill>
              </a:rPr>
              <a:t>Acoustiness</a:t>
            </a:r>
            <a:endParaRPr lang="en-US" err="1">
              <a:solidFill>
                <a:schemeClr val="bg1"/>
              </a:solidFill>
            </a:endParaRPr>
          </a:p>
          <a:p>
            <a:pPr>
              <a:buFont typeface=""/>
              <a:buChar char="•"/>
            </a:pPr>
            <a:endParaRPr lang="en-US" sz="2000">
              <a:solidFill>
                <a:srgbClr val="FFFFFF"/>
              </a:solidFill>
            </a:endParaRPr>
          </a:p>
          <a:p>
            <a:r>
              <a:rPr lang="en-US" sz="2000" b="1">
                <a:solidFill>
                  <a:srgbClr val="00B050"/>
                </a:solidFill>
              </a:rPr>
              <a:t>Key Metrics for the Models:</a:t>
            </a: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  <a:p>
            <a:endParaRPr lang="en-US" sz="2000" b="1">
              <a:solidFill>
                <a:srgbClr val="00B050"/>
              </a:solidFill>
            </a:endParaRPr>
          </a:p>
        </p:txBody>
      </p:sp>
      <p:pic>
        <p:nvPicPr>
          <p:cNvPr id="3" name="Picture 2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E0A80C3C-E0FA-400E-A2A5-83514109D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1262" y="84426"/>
            <a:ext cx="5844887" cy="3381376"/>
          </a:xfrm>
          <a:prstGeom prst="rect">
            <a:avLst/>
          </a:prstGeom>
        </p:spPr>
      </p:pic>
      <p:pic>
        <p:nvPicPr>
          <p:cNvPr id="4" name="Picture 3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4708D0BD-5D30-054A-337A-1E85101412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31262" y="3453680"/>
            <a:ext cx="5844887" cy="3362326"/>
          </a:xfrm>
          <a:prstGeom prst="rect">
            <a:avLst/>
          </a:prstGeom>
        </p:spPr>
      </p:pic>
      <p:pic>
        <p:nvPicPr>
          <p:cNvPr id="5" name="Picture 4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3FB5646C-8A14-6752-5775-40F4B87C2E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36024" y="6811675"/>
            <a:ext cx="5835362" cy="3365789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5932369-7FA1-46BF-4D2E-C2A743507C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9348272"/>
              </p:ext>
            </p:extLst>
          </p:nvPr>
        </p:nvGraphicFramePr>
        <p:xfrm>
          <a:off x="525738" y="7816685"/>
          <a:ext cx="9782175" cy="1412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600325">
                  <a:extLst>
                    <a:ext uri="{9D8B030D-6E8A-4147-A177-3AD203B41FA5}">
                      <a16:colId xmlns:a16="http://schemas.microsoft.com/office/drawing/2014/main" val="347384649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48879262"/>
                    </a:ext>
                  </a:extLst>
                </a:gridCol>
                <a:gridCol w="1847850">
                  <a:extLst>
                    <a:ext uri="{9D8B030D-6E8A-4147-A177-3AD203B41FA5}">
                      <a16:colId xmlns:a16="http://schemas.microsoft.com/office/drawing/2014/main" val="1147287743"/>
                    </a:ext>
                  </a:extLst>
                </a:gridCol>
                <a:gridCol w="1924050">
                  <a:extLst>
                    <a:ext uri="{9D8B030D-6E8A-4147-A177-3AD203B41FA5}">
                      <a16:colId xmlns:a16="http://schemas.microsoft.com/office/drawing/2014/main" val="4204293079"/>
                    </a:ext>
                  </a:extLst>
                </a:gridCol>
                <a:gridCol w="1581150">
                  <a:extLst>
                    <a:ext uri="{9D8B030D-6E8A-4147-A177-3AD203B41FA5}">
                      <a16:colId xmlns:a16="http://schemas.microsoft.com/office/drawing/2014/main" val="963253247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del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curacy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call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cision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1 Score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97818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ecision Tree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.3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9.2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5.5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1.3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565083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andom Forest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.4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7.2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9.3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8.2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621305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Gradient Boosting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0.6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2.6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4.9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175"/>
                        </a:lnSpc>
                      </a:pPr>
                      <a:r>
                        <a:rPr lang="en-US" sz="1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3.7%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610912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" name="Google Shape;271;g31abfd2b4e9_0_433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72" name="Google Shape;272;g31abfd2b4e9_0_433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6C25FF"/>
            </a:solidFill>
            <a:ln>
              <a:noFill/>
            </a:ln>
          </p:spPr>
          <p:txBody>
            <a:bodyPr/>
            <a:lstStyle/>
            <a:p>
              <a:endParaRPr lang="en-US">
                <a:solidFill>
                  <a:srgbClr val="92D050"/>
                </a:solidFill>
              </a:endParaRPr>
            </a:p>
          </p:txBody>
        </p:sp>
        <p:sp>
          <p:nvSpPr>
            <p:cNvPr id="273" name="Google Shape;273;g31abfd2b4e9_0_433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92D05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4" name="Google Shape;274;g31abfd2b4e9_0_433"/>
          <p:cNvSpPr txBox="1"/>
          <p:nvPr/>
        </p:nvSpPr>
        <p:spPr>
          <a:xfrm>
            <a:off x="2721605" y="744292"/>
            <a:ext cx="43683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Decision Trees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75" name="Google Shape;275;g31abfd2b4e9_0_433"/>
          <p:cNvSpPr txBox="1"/>
          <p:nvPr/>
        </p:nvSpPr>
        <p:spPr>
          <a:xfrm>
            <a:off x="882362" y="744292"/>
            <a:ext cx="7992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2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" name="Google Shape;277;g31abfd2b4e9_0_433">
            <a:extLst>
              <a:ext uri="{FF2B5EF4-FFF2-40B4-BE49-F238E27FC236}">
                <a16:creationId xmlns:a16="http://schemas.microsoft.com/office/drawing/2014/main" id="{199F856F-F788-2B19-4C55-4D29CAB55670}"/>
              </a:ext>
            </a:extLst>
          </p:cNvPr>
          <p:cNvSpPr txBox="1"/>
          <p:nvPr/>
        </p:nvSpPr>
        <p:spPr>
          <a:xfrm>
            <a:off x="8680446" y="740591"/>
            <a:ext cx="8578636" cy="67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>
                <a:solidFill>
                  <a:srgbClr val="00B050"/>
                </a:solidFill>
                <a:ea typeface="Lato"/>
                <a:sym typeface="Lato"/>
              </a:rPr>
              <a:t>Payoff Comparison &amp; Business Insights</a:t>
            </a:r>
            <a:endParaRPr lang="en-US" sz="3200" b="1">
              <a:solidFill>
                <a:srgbClr val="00B050"/>
              </a:solidFill>
            </a:endParaRPr>
          </a:p>
        </p:txBody>
      </p:sp>
      <p:sp>
        <p:nvSpPr>
          <p:cNvPr id="3" name="TextBox 4">
            <a:extLst>
              <a:ext uri="{FF2B5EF4-FFF2-40B4-BE49-F238E27FC236}">
                <a16:creationId xmlns:a16="http://schemas.microsoft.com/office/drawing/2014/main" id="{33514F6F-F3A2-AA6C-3892-A469072EAD42}"/>
              </a:ext>
            </a:extLst>
          </p:cNvPr>
          <p:cNvSpPr txBox="1"/>
          <p:nvPr/>
        </p:nvSpPr>
        <p:spPr>
          <a:xfrm>
            <a:off x="11114810" y="4222173"/>
            <a:ext cx="6778338" cy="470898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sz="2000" b="1">
              <a:solidFill>
                <a:schemeClr val="bg1"/>
              </a:solidFill>
            </a:endParaRPr>
          </a:p>
          <a:p>
            <a:r>
              <a:rPr lang="en-US" sz="2000" b="1">
                <a:solidFill>
                  <a:srgbClr val="00B050"/>
                </a:solidFill>
              </a:rPr>
              <a:t>Business Insights:</a:t>
            </a:r>
          </a:p>
          <a:p>
            <a:endParaRPr lang="en-US" sz="2000" b="1">
              <a:solidFill>
                <a:schemeClr val="bg1"/>
              </a:solidFill>
            </a:endParaRPr>
          </a:p>
          <a:p>
            <a:r>
              <a:rPr lang="en-US" sz="2000" b="1">
                <a:solidFill>
                  <a:schemeClr val="bg1"/>
                </a:solidFill>
              </a:rPr>
              <a:t>    Impact on Delayed Payoff:</a:t>
            </a:r>
            <a:r>
              <a:rPr lang="en-US" sz="2000">
                <a:solidFill>
                  <a:schemeClr val="bg1"/>
                </a:solidFill>
              </a:rPr>
              <a:t> </a:t>
            </a:r>
            <a:endParaRPr lang="en-US" sz="2000" b="1">
              <a:solidFill>
                <a:schemeClr val="bg1"/>
              </a:solidFill>
            </a:endParaRPr>
          </a:p>
          <a:p>
            <a:pPr marL="457200" lvl="1"/>
            <a:r>
              <a:rPr lang="en-US" sz="2000">
                <a:solidFill>
                  <a:schemeClr val="bg1"/>
                </a:solidFill>
              </a:rPr>
              <a:t>Recall captures the true positives (e.g., identifying potential hidden hits), which are crucial for maximizing delayed payoffs by promoting songs with long-term growth potential. </a:t>
            </a:r>
            <a:endParaRPr lang="en-US">
              <a:solidFill>
                <a:schemeClr val="bg1"/>
              </a:solidFill>
            </a:endParaRPr>
          </a:p>
          <a:p>
            <a:pPr marL="457200" lvl="1"/>
            <a:endParaRPr lang="en-US" sz="2000" b="1">
              <a:solidFill>
                <a:schemeClr val="bg1"/>
              </a:solidFill>
            </a:endParaRPr>
          </a:p>
          <a:p>
            <a:pPr marL="457200" lvl="1"/>
            <a:r>
              <a:rPr lang="en-US" sz="2000" b="1">
                <a:solidFill>
                  <a:schemeClr val="bg1"/>
                </a:solidFill>
              </a:rPr>
              <a:t>Balancing Immediate Payoff:</a:t>
            </a:r>
            <a:r>
              <a:rPr lang="en-US" sz="2000">
                <a:solidFill>
                  <a:schemeClr val="bg1"/>
                </a:solidFill>
              </a:rPr>
              <a:t> </a:t>
            </a:r>
            <a:endParaRPr lang="en-US">
              <a:solidFill>
                <a:schemeClr val="bg1"/>
              </a:solidFill>
            </a:endParaRPr>
          </a:p>
          <a:p>
            <a:pPr marL="457200" lvl="1"/>
            <a:r>
              <a:rPr lang="en-US" sz="2000">
                <a:solidFill>
                  <a:schemeClr val="bg1"/>
                </a:solidFill>
              </a:rPr>
              <a:t>While recall improves delayed payoffs, its alignment with precision ensures accurate identification of hits, directly influencing immediate payoffs and reducing false positives.</a:t>
            </a:r>
            <a:endParaRPr lang="en-US">
              <a:solidFill>
                <a:schemeClr val="bg1"/>
              </a:solidFill>
            </a:endParaRPr>
          </a:p>
          <a:p>
            <a:pPr>
              <a:buFont typeface="Arial"/>
              <a:buChar char="•"/>
            </a:pPr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60190D-BD47-9CF6-198A-56EF3346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438" y="4222605"/>
            <a:ext cx="10593532" cy="5374698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6AF5EEF-18FD-131E-1E45-084012D389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0972669"/>
              </p:ext>
            </p:extLst>
          </p:nvPr>
        </p:nvGraphicFramePr>
        <p:xfrm>
          <a:off x="147637" y="2230672"/>
          <a:ext cx="17992725" cy="1584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495800">
                  <a:extLst>
                    <a:ext uri="{9D8B030D-6E8A-4147-A177-3AD203B41FA5}">
                      <a16:colId xmlns:a16="http://schemas.microsoft.com/office/drawing/2014/main" val="1667701953"/>
                    </a:ext>
                  </a:extLst>
                </a:gridCol>
                <a:gridCol w="5314950">
                  <a:extLst>
                    <a:ext uri="{9D8B030D-6E8A-4147-A177-3AD203B41FA5}">
                      <a16:colId xmlns:a16="http://schemas.microsoft.com/office/drawing/2014/main" val="2659620089"/>
                    </a:ext>
                  </a:extLst>
                </a:gridCol>
                <a:gridCol w="4124325">
                  <a:extLst>
                    <a:ext uri="{9D8B030D-6E8A-4147-A177-3AD203B41FA5}">
                      <a16:colId xmlns:a16="http://schemas.microsoft.com/office/drawing/2014/main" val="1325710893"/>
                    </a:ext>
                  </a:extLst>
                </a:gridCol>
                <a:gridCol w="4057650">
                  <a:extLst>
                    <a:ext uri="{9D8B030D-6E8A-4147-A177-3AD203B41FA5}">
                      <a16:colId xmlns:a16="http://schemas.microsoft.com/office/drawing/2014/main" val="25458750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Model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Confusion Matrix (TP, FP, FN, TN)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Immediate Payoff ($M)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Delayed Payoff ($M)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2072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Decision Tree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P=650, FP=1211, FN=671, TN=4192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78.00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98.13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2572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Random Forest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P=623, FP=642, FN=698, TN=4761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74.76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95.70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89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 b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Gradient Boosting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P=563, FP=441, FN=758, TN=4962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67.56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2400"/>
                        </a:lnSpc>
                      </a:pPr>
                      <a:r>
                        <a:rPr lang="en-US" sz="20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90.30M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2323710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5" name="Google Shape;285;g31abfd2b4e9_0_272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86" name="Google Shape;286;g31abfd2b4e9_0_272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6C25FF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Google Shape;287;g31abfd2b4e9_0_272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8" name="Google Shape;288;g31abfd2b4e9_0_272"/>
          <p:cNvSpPr txBox="1"/>
          <p:nvPr/>
        </p:nvSpPr>
        <p:spPr>
          <a:xfrm>
            <a:off x="2721605" y="744292"/>
            <a:ext cx="43683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00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KNN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89" name="Google Shape;289;g31abfd2b4e9_0_272"/>
          <p:cNvSpPr txBox="1"/>
          <p:nvPr/>
        </p:nvSpPr>
        <p:spPr>
          <a:xfrm>
            <a:off x="882362" y="744292"/>
            <a:ext cx="7992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3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290" name="Google Shape;290;g31abfd2b4e9_0_272"/>
          <p:cNvSpPr txBox="1"/>
          <p:nvPr/>
        </p:nvSpPr>
        <p:spPr>
          <a:xfrm>
            <a:off x="327900" y="2117250"/>
            <a:ext cx="8633085" cy="5786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endParaRPr lang="en-US" sz="2400" b="1">
              <a:solidFill>
                <a:schemeClr val="bg1"/>
              </a:solidFill>
              <a:ea typeface="Lato"/>
            </a:endParaRPr>
          </a:p>
          <a:p>
            <a:r>
              <a:rPr lang="en-US" sz="3200">
                <a:solidFill>
                  <a:srgbClr val="23DC6D"/>
                </a:solidFill>
                <a:ea typeface="Lato"/>
              </a:rPr>
              <a:t>Key Metrics:</a:t>
            </a:r>
          </a:p>
          <a:p>
            <a:pPr lvl="1"/>
            <a:endParaRPr lang="en-US" sz="2400">
              <a:solidFill>
                <a:schemeClr val="bg1"/>
              </a:solidFill>
              <a:ea typeface="Lato"/>
            </a:endParaRPr>
          </a:p>
          <a:p>
            <a:pPr lvl="1"/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Accuracy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: </a:t>
            </a:r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83%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 (overall model correctness).</a:t>
            </a:r>
            <a:endParaRPr lang="en-US">
              <a:solidFill>
                <a:schemeClr val="bg1"/>
              </a:solidFill>
            </a:endParaRPr>
          </a:p>
          <a:p>
            <a:pPr lvl="1"/>
            <a:endParaRPr lang="en-US" sz="2400">
              <a:solidFill>
                <a:schemeClr val="bg1"/>
              </a:solidFill>
              <a:ea typeface="Lato"/>
              <a:sym typeface="Lato"/>
            </a:endParaRPr>
          </a:p>
          <a:p>
            <a:pPr lvl="1"/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Precision (Class 1 - Popular)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: </a:t>
            </a:r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1.00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 (perfectly avoids labeling unpopular songs as popular).</a:t>
            </a:r>
            <a:endParaRPr lang="en-US">
              <a:solidFill>
                <a:schemeClr val="bg1"/>
              </a:solidFill>
            </a:endParaRPr>
          </a:p>
          <a:p>
            <a:pPr lvl="1"/>
            <a:endParaRPr lang="en-US" sz="2400">
              <a:solidFill>
                <a:schemeClr val="bg1"/>
              </a:solidFill>
              <a:ea typeface="Lato"/>
              <a:sym typeface="Lato"/>
            </a:endParaRPr>
          </a:p>
          <a:p>
            <a:pPr lvl="1"/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Recall (Class 1 - Popular)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: </a:t>
            </a:r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16%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 (struggles to identify all popular songs).</a:t>
            </a:r>
            <a:endParaRPr lang="en-US">
              <a:solidFill>
                <a:schemeClr val="bg1"/>
              </a:solidFill>
            </a:endParaRPr>
          </a:p>
          <a:p>
            <a:pPr lvl="1"/>
            <a:endParaRPr lang="en-US" sz="2400">
              <a:solidFill>
                <a:schemeClr val="bg1"/>
              </a:solidFill>
              <a:ea typeface="Lato"/>
              <a:sym typeface="Lato"/>
            </a:endParaRPr>
          </a:p>
          <a:p>
            <a:pPr lvl="1"/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F1-Score (Class 1 - Popular)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: </a:t>
            </a:r>
            <a:r>
              <a:rPr lang="en-US" sz="2400" b="1">
                <a:solidFill>
                  <a:schemeClr val="bg1"/>
                </a:solidFill>
                <a:ea typeface="Lato"/>
                <a:sym typeface="Lato"/>
              </a:rPr>
              <a:t>27%</a:t>
            </a:r>
            <a:r>
              <a:rPr lang="en-US" sz="2400">
                <a:solidFill>
                  <a:schemeClr val="bg1"/>
                </a:solidFill>
                <a:ea typeface="Lato"/>
                <a:sym typeface="Lato"/>
              </a:rPr>
              <a:t> (low balance between precision and recall).</a:t>
            </a:r>
            <a:endParaRPr lang="en-US">
              <a:solidFill>
                <a:schemeClr val="bg1"/>
              </a:solidFill>
            </a:endParaRPr>
          </a:p>
          <a:p>
            <a:pPr lvl="1">
              <a:buFont typeface="Arial,Sans-Serif"/>
              <a:buChar char="•"/>
            </a:pPr>
            <a:endParaRPr/>
          </a:p>
          <a:p>
            <a:pPr marL="285750" lvl="1" indent="-342900">
              <a:buChar char="•"/>
            </a:pPr>
            <a:br>
              <a:rPr lang="en-US">
                <a:sym typeface="Lato"/>
              </a:rPr>
            </a:br>
            <a:endParaRPr lang="en-US"/>
          </a:p>
          <a:p>
            <a:pPr marL="342900" lvl="1" indent="-342900" algn="l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/>
          </a:p>
        </p:txBody>
      </p:sp>
      <p:pic>
        <p:nvPicPr>
          <p:cNvPr id="5" name="Picture 4" descr="A blue squares with white text&#10;&#10;Description automatically generated">
            <a:extLst>
              <a:ext uri="{FF2B5EF4-FFF2-40B4-BE49-F238E27FC236}">
                <a16:creationId xmlns:a16="http://schemas.microsoft.com/office/drawing/2014/main" id="{814A7B24-5C5A-D86A-FDA2-914302CDD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987" y="2114629"/>
            <a:ext cx="7543175" cy="6207645"/>
          </a:xfrm>
          <a:prstGeom prst="rect">
            <a:avLst/>
          </a:prstGeom>
        </p:spPr>
      </p:pic>
    </p:spTree>
  </p:cSld>
  <p:clrMapOvr>
    <a:masterClrMapping/>
  </p:clrMapOvr>
  <p:transition spd="slow">
    <p:push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" name="Google Shape;296;g31abfd2b4e9_0_441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297" name="Google Shape;297;g31abfd2b4e9_0_441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6C25FF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Google Shape;298;g31abfd2b4e9_0_441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9" name="Google Shape;299;g31abfd2b4e9_0_441"/>
          <p:cNvSpPr txBox="1"/>
          <p:nvPr/>
        </p:nvSpPr>
        <p:spPr>
          <a:xfrm>
            <a:off x="2721605" y="744292"/>
            <a:ext cx="4368300" cy="963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00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KNN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300" name="Google Shape;300;g31abfd2b4e9_0_441"/>
          <p:cNvSpPr txBox="1"/>
          <p:nvPr/>
        </p:nvSpPr>
        <p:spPr>
          <a:xfrm>
            <a:off x="882362" y="744292"/>
            <a:ext cx="7992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dk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3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96C04-20B9-034E-3D79-6D045F0A6B74}"/>
              </a:ext>
            </a:extLst>
          </p:cNvPr>
          <p:cNvSpPr txBox="1"/>
          <p:nvPr/>
        </p:nvSpPr>
        <p:spPr>
          <a:xfrm>
            <a:off x="408483" y="2422785"/>
            <a:ext cx="13386215" cy="34163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indent="-228600">
              <a:buFont typeface="Arial"/>
              <a:buChar char="•"/>
            </a:pPr>
            <a:r>
              <a:rPr lang="en-US" sz="2400" b="1">
                <a:solidFill>
                  <a:schemeClr val="bg1"/>
                </a:solidFill>
              </a:rPr>
              <a:t>Strengths</a:t>
            </a:r>
            <a:r>
              <a:rPr lang="en-US" sz="2400">
                <a:solidFill>
                  <a:schemeClr val="bg1"/>
                </a:solidFill>
              </a:rPr>
              <a:t>:</a:t>
            </a:r>
            <a:endParaRPr lang="en-US"/>
          </a:p>
          <a:p>
            <a:pPr marL="342900" lvl="1" indent="-342900">
              <a:buFont typeface="Arial"/>
              <a:buChar char="•"/>
            </a:pPr>
            <a:r>
              <a:rPr lang="en-US" sz="2400">
                <a:solidFill>
                  <a:schemeClr val="bg1"/>
                </a:solidFill>
              </a:rPr>
              <a:t>Excellent performance in identifying </a:t>
            </a:r>
            <a:r>
              <a:rPr lang="en-US" sz="2400" b="1">
                <a:solidFill>
                  <a:schemeClr val="bg1"/>
                </a:solidFill>
              </a:rPr>
              <a:t>unpopular songs</a:t>
            </a:r>
            <a:r>
              <a:rPr lang="en-US" sz="2400">
                <a:solidFill>
                  <a:schemeClr val="bg1"/>
                </a:solidFill>
              </a:rPr>
              <a:t> (High precision and recall for Class 0).</a:t>
            </a:r>
          </a:p>
          <a:p>
            <a:pPr marL="342900" lvl="1" indent="-342900">
              <a:buFont typeface="Arial"/>
              <a:buChar char="•"/>
            </a:pPr>
            <a:endParaRPr lang="en-US" sz="2400">
              <a:solidFill>
                <a:schemeClr val="bg1"/>
              </a:solidFill>
            </a:endParaRPr>
          </a:p>
          <a:p>
            <a:pPr marL="342900" lvl="1" indent="-342900">
              <a:buFont typeface="Arial"/>
              <a:buChar char="•"/>
            </a:pPr>
            <a:r>
              <a:rPr lang="en-US" sz="2400">
                <a:solidFill>
                  <a:schemeClr val="bg1"/>
                </a:solidFill>
              </a:rPr>
              <a:t>Minimizes the risk of misclassifying unpopular songs as popular (only 1 false positive).</a:t>
            </a:r>
          </a:p>
          <a:p>
            <a:pPr marL="342900" lvl="1" indent="-342900">
              <a:buFont typeface="Arial"/>
              <a:buChar char="•"/>
            </a:pPr>
            <a:endParaRPr lang="en-US" sz="2400">
              <a:solidFill>
                <a:schemeClr val="bg1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chemeClr val="bg1"/>
                </a:solidFill>
              </a:rPr>
              <a:t>Weaknesses</a:t>
            </a:r>
            <a:r>
              <a:rPr lang="en-US" sz="2400">
                <a:solidFill>
                  <a:schemeClr val="bg1"/>
                </a:solidFill>
              </a:rPr>
              <a:t>: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>
                <a:solidFill>
                  <a:schemeClr val="bg1"/>
                </a:solidFill>
              </a:rPr>
              <a:t>Misses a significant number of </a:t>
            </a:r>
            <a:r>
              <a:rPr lang="en-US" sz="2400" b="1">
                <a:solidFill>
                  <a:schemeClr val="bg1"/>
                </a:solidFill>
              </a:rPr>
              <a:t>popular songs</a:t>
            </a:r>
            <a:r>
              <a:rPr lang="en-US" sz="2400">
                <a:solidFill>
                  <a:schemeClr val="bg1"/>
                </a:solidFill>
              </a:rPr>
              <a:t> (High False Negatives).</a:t>
            </a:r>
          </a:p>
          <a:p>
            <a:pPr marL="342900" lvl="1" indent="-342900">
              <a:buFont typeface="Arial"/>
              <a:buChar char="•"/>
            </a:pPr>
            <a:endParaRPr lang="en-US" sz="2400">
              <a:solidFill>
                <a:schemeClr val="bg1"/>
              </a:solidFill>
            </a:endParaRPr>
          </a:p>
          <a:p>
            <a:pPr marL="342900" lvl="1" indent="-342900">
              <a:buFont typeface="Arial"/>
              <a:buChar char="•"/>
            </a:pPr>
            <a:r>
              <a:rPr lang="en-US" sz="2400">
                <a:solidFill>
                  <a:schemeClr val="bg1"/>
                </a:solidFill>
              </a:rPr>
              <a:t>Poor recall for popular songs impacts promotional strategies for potential hits.</a:t>
            </a:r>
          </a:p>
        </p:txBody>
      </p:sp>
    </p:spTree>
  </p:cSld>
  <p:clrMapOvr>
    <a:masterClrMapping/>
  </p:clrMapOvr>
  <p:transition spd="slow">
    <p:push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9" name="Google Shape;319;g31abfd2b4e9_0_449"/>
          <p:cNvGrpSpPr/>
          <p:nvPr/>
        </p:nvGrpSpPr>
        <p:grpSpPr>
          <a:xfrm>
            <a:off x="0" y="313028"/>
            <a:ext cx="7572792" cy="1348750"/>
            <a:chOff x="0" y="-28575"/>
            <a:chExt cx="1994467" cy="355224"/>
          </a:xfrm>
        </p:grpSpPr>
        <p:sp>
          <p:nvSpPr>
            <p:cNvPr id="320" name="Google Shape;320;g31abfd2b4e9_0_449"/>
            <p:cNvSpPr/>
            <p:nvPr/>
          </p:nvSpPr>
          <p:spPr>
            <a:xfrm>
              <a:off x="0" y="0"/>
              <a:ext cx="1994467" cy="326649"/>
            </a:xfrm>
            <a:custGeom>
              <a:avLst/>
              <a:gdLst/>
              <a:ahLst/>
              <a:cxnLst/>
              <a:rect l="l" t="t" r="r" b="b"/>
              <a:pathLst>
                <a:path w="1994467" h="326649" extrusionOk="0">
                  <a:moveTo>
                    <a:pt x="0" y="0"/>
                  </a:moveTo>
                  <a:lnTo>
                    <a:pt x="1994467" y="0"/>
                  </a:lnTo>
                  <a:lnTo>
                    <a:pt x="1994467" y="326649"/>
                  </a:lnTo>
                  <a:lnTo>
                    <a:pt x="0" y="326649"/>
                  </a:lnTo>
                  <a:close/>
                </a:path>
              </a:pathLst>
            </a:custGeom>
            <a:solidFill>
              <a:srgbClr val="6C25FF"/>
            </a:solidFill>
            <a:ln>
              <a:noFill/>
            </a:ln>
          </p:spPr>
        </p:sp>
        <p:sp>
          <p:nvSpPr>
            <p:cNvPr id="321" name="Google Shape;321;g31abfd2b4e9_0_449"/>
            <p:cNvSpPr txBox="1"/>
            <p:nvPr/>
          </p:nvSpPr>
          <p:spPr>
            <a:xfrm>
              <a:off x="0" y="-28575"/>
              <a:ext cx="1994400" cy="355200"/>
            </a:xfrm>
            <a:prstGeom prst="rect">
              <a:avLst/>
            </a:prstGeom>
            <a:solidFill>
              <a:srgbClr val="6D6B6E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2" name="Google Shape;322;g31abfd2b4e9_0_449"/>
          <p:cNvSpPr txBox="1"/>
          <p:nvPr/>
        </p:nvSpPr>
        <p:spPr>
          <a:xfrm>
            <a:off x="2721605" y="744292"/>
            <a:ext cx="43683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Neural Networks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323" name="Google Shape;323;g31abfd2b4e9_0_449"/>
          <p:cNvSpPr txBox="1"/>
          <p:nvPr/>
        </p:nvSpPr>
        <p:spPr>
          <a:xfrm>
            <a:off x="882362" y="744292"/>
            <a:ext cx="799200" cy="55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7398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28"/>
              <a:buFont typeface="Arial"/>
              <a:buNone/>
            </a:pPr>
            <a:r>
              <a:rPr lang="en-US" sz="3628" b="1">
                <a:solidFill>
                  <a:schemeClr val="lt1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4</a:t>
            </a:r>
            <a:endParaRPr sz="3628" b="1">
              <a:solidFill>
                <a:schemeClr val="lt1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324" name="Google Shape;324;g31abfd2b4e9_0_449"/>
          <p:cNvSpPr txBox="1"/>
          <p:nvPr/>
        </p:nvSpPr>
        <p:spPr>
          <a:xfrm>
            <a:off x="906700" y="1791825"/>
            <a:ext cx="5759400" cy="118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>
                <a:solidFill>
                  <a:srgbClr val="6AE870"/>
                </a:solidFill>
                <a:latin typeface="Lato"/>
                <a:ea typeface="Lato"/>
                <a:cs typeface="Lato"/>
                <a:sym typeface="Lato"/>
              </a:rPr>
              <a:t>Model Performance</a:t>
            </a:r>
            <a:endParaRPr sz="3000" b="1">
              <a:solidFill>
                <a:srgbClr val="6AE870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25" name="Google Shape;325;g31abfd2b4e9_0_449"/>
          <p:cNvSpPr txBox="1"/>
          <p:nvPr/>
        </p:nvSpPr>
        <p:spPr>
          <a:xfrm>
            <a:off x="404700" y="2687750"/>
            <a:ext cx="17478600" cy="683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457200" lvl="0" indent="-419100" algn="l" rtl="0">
              <a:lnSpc>
                <a:spcPct val="115000"/>
              </a:lnSpc>
              <a:spcAft>
                <a:spcPts val="0"/>
              </a:spcAft>
              <a:buClr>
                <a:schemeClr val="lt1"/>
              </a:buClr>
              <a:buSzPts val="3000"/>
              <a:buFont typeface="Lato"/>
              <a:buChar char="●"/>
            </a:pPr>
            <a:r>
              <a:rPr lang="en-US" sz="30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Further Refinement:</a:t>
            </a:r>
            <a:endParaRPr lang="ru-RU" sz="3000" b="1">
              <a:solidFill>
                <a:schemeClr val="lt1"/>
              </a:solidFill>
              <a:latin typeface="Lato"/>
              <a:ea typeface="Lato"/>
              <a:cs typeface="Lato"/>
            </a:endParaRPr>
          </a:p>
          <a:p>
            <a:pPr marL="914400" lvl="1" indent="-406400">
              <a:lnSpc>
                <a:spcPct val="115000"/>
              </a:lnSpc>
              <a:buClr>
                <a:schemeClr val="lt1"/>
              </a:buClr>
              <a:buSzPts val="2800"/>
              <a:buFont typeface="Lato"/>
              <a:buChar char="○"/>
            </a:pPr>
            <a:r>
              <a:rPr lang="en-US" sz="28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Play with outliers</a:t>
            </a:r>
            <a:endParaRPr sz="2800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406400">
              <a:lnSpc>
                <a:spcPct val="114999"/>
              </a:lnSpc>
              <a:buClr>
                <a:schemeClr val="lt1"/>
              </a:buClr>
              <a:buSzPts val="2800"/>
              <a:buFont typeface="Lato"/>
              <a:buChar char="○"/>
            </a:pPr>
            <a:r>
              <a:rPr lang="en-US" sz="2800">
                <a:solidFill>
                  <a:schemeClr val="lt1"/>
                </a:solidFill>
                <a:latin typeface="Lato"/>
                <a:ea typeface="Lato"/>
                <a:cs typeface="Lato"/>
              </a:rPr>
              <a:t>Play with interactions</a:t>
            </a:r>
            <a:endParaRPr lang="en-US" sz="2800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406400">
              <a:lnSpc>
                <a:spcPct val="114999"/>
              </a:lnSpc>
              <a:buClr>
                <a:schemeClr val="lt1"/>
              </a:buClr>
              <a:buSzPts val="2800"/>
              <a:buFont typeface="Lato"/>
              <a:buChar char="○"/>
            </a:pPr>
            <a:r>
              <a:rPr lang="en-US" sz="2800">
                <a:solidFill>
                  <a:schemeClr val="lt1"/>
                </a:solidFill>
                <a:latin typeface="Lato"/>
                <a:ea typeface="Lato"/>
                <a:cs typeface="Lato"/>
              </a:rPr>
              <a:t>Play with ensembles</a:t>
            </a:r>
            <a:endParaRPr lang="en-US" sz="2800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Lato"/>
              <a:buChar char="●"/>
            </a:pPr>
            <a:r>
              <a:rPr lang="en-US" sz="28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Expected Payoff:</a:t>
            </a:r>
            <a:endParaRPr sz="2800" b="1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Lato"/>
              <a:buChar char="○"/>
            </a:pPr>
            <a:r>
              <a:rPr lang="en-US" sz="28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$120 Million</a:t>
            </a:r>
            <a:endParaRPr sz="2800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  <a:p>
            <a:pPr marL="137160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endParaRPr sz="90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None/>
            </a:pPr>
            <a:endParaRPr sz="1800">
              <a:solidFill>
                <a:srgbClr val="595959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7DF19E-7303-5539-1CE8-BBD78C100B5D}"/>
              </a:ext>
            </a:extLst>
          </p:cNvPr>
          <p:cNvSpPr txBox="1"/>
          <p:nvPr/>
        </p:nvSpPr>
        <p:spPr>
          <a:xfrm>
            <a:off x="7979569" y="1685926"/>
            <a:ext cx="9894093" cy="14844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000" b="1">
                <a:solidFill>
                  <a:srgbClr val="FFFFFF"/>
                </a:solidFill>
                <a:latin typeface="Lato"/>
              </a:rPr>
              <a:t>We tried 2 different datasets</a:t>
            </a:r>
            <a:endParaRPr lang="ru-RU"/>
          </a:p>
          <a:p>
            <a:r>
              <a:rPr lang="en-US" sz="3000">
                <a:solidFill>
                  <a:srgbClr val="FFFFFF"/>
                </a:solidFill>
                <a:latin typeface="Lato"/>
              </a:rPr>
              <a:t>with dummy variables (test) </a:t>
            </a:r>
            <a:r>
              <a:rPr lang="en-US" sz="3000">
                <a:solidFill>
                  <a:srgbClr val="FFFFFF"/>
                </a:solidFill>
                <a:ea typeface="Lato"/>
              </a:rPr>
              <a:t>    </a:t>
            </a:r>
            <a:r>
              <a:rPr lang="en-US" sz="3000">
                <a:solidFill>
                  <a:srgbClr val="FFFFFF"/>
                </a:solidFill>
                <a:latin typeface="Lato"/>
                <a:ea typeface="Lato"/>
                <a:cs typeface="Lato"/>
              </a:rPr>
              <a:t>with </a:t>
            </a:r>
            <a:r>
              <a:rPr lang="en-US" sz="3000" err="1">
                <a:solidFill>
                  <a:srgbClr val="FFFFFF"/>
                </a:solidFill>
                <a:latin typeface="Lato"/>
                <a:ea typeface="Lato"/>
                <a:cs typeface="Lato"/>
              </a:rPr>
              <a:t>LabelEncoder</a:t>
            </a:r>
            <a:r>
              <a:rPr lang="en-US" sz="3000">
                <a:solidFill>
                  <a:srgbClr val="FFFFFF"/>
                </a:solidFill>
                <a:latin typeface="Lato"/>
                <a:ea typeface="Lato"/>
                <a:cs typeface="Lato"/>
              </a:rPr>
              <a:t> (test)</a:t>
            </a:r>
            <a:endParaRPr lang="en-US" sz="1100" err="1"/>
          </a:p>
          <a:p>
            <a:endParaRPr lang="en-US" sz="3000" b="1">
              <a:solidFill>
                <a:srgbClr val="FFFFFF"/>
              </a:solidFill>
              <a:latin typeface="Lato"/>
              <a:ea typeface="Lato"/>
              <a:cs typeface="Lato"/>
            </a:endParaRPr>
          </a:p>
        </p:txBody>
      </p:sp>
      <p:pic>
        <p:nvPicPr>
          <p:cNvPr id="3" name="Рисунок 2" descr="Изображение выглядит как текст, снимок экрана, диаграмма, Прямоугольник&#10;&#10;Автоматически созданное описание">
            <a:extLst>
              <a:ext uri="{FF2B5EF4-FFF2-40B4-BE49-F238E27FC236}">
                <a16:creationId xmlns:a16="http://schemas.microsoft.com/office/drawing/2014/main" id="{8FAC98D9-34A7-9400-2BD1-A831C7FCF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0687" y="2976563"/>
            <a:ext cx="4905375" cy="43338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DF145F2-AAA8-0932-BD9A-9F0475248D50}"/>
              </a:ext>
            </a:extLst>
          </p:cNvPr>
          <p:cNvSpPr txBox="1"/>
          <p:nvPr/>
        </p:nvSpPr>
        <p:spPr>
          <a:xfrm>
            <a:off x="7622382" y="7600950"/>
            <a:ext cx="3757612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06400">
              <a:buFont typeface="Lato,Sans-Serif"/>
              <a:buChar char="●"/>
            </a:pPr>
            <a:r>
              <a:rPr lang="en-US" sz="2800" b="1">
                <a:solidFill>
                  <a:srgbClr val="FFFFFF"/>
                </a:solidFill>
                <a:latin typeface="Lato"/>
              </a:rPr>
              <a:t>Scenario 1. Expected Payoff: </a:t>
            </a:r>
            <a:r>
              <a:rPr lang="en-US" sz="2800">
                <a:solidFill>
                  <a:srgbClr val="FFFFFF"/>
                </a:solidFill>
                <a:latin typeface="Lato"/>
              </a:rPr>
              <a:t>$116 Million</a:t>
            </a:r>
            <a:r>
              <a:rPr lang="en-US" sz="2800">
                <a:latin typeface="Lato"/>
              </a:rPr>
              <a:t>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0B650-F1DB-DC12-7771-202F1AE46406}"/>
              </a:ext>
            </a:extLst>
          </p:cNvPr>
          <p:cNvSpPr txBox="1"/>
          <p:nvPr/>
        </p:nvSpPr>
        <p:spPr>
          <a:xfrm>
            <a:off x="13123069" y="7600950"/>
            <a:ext cx="3757612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06400">
              <a:buFont typeface="Lato,Sans-Serif"/>
              <a:buChar char="●"/>
            </a:pPr>
            <a:r>
              <a:rPr lang="en-US" sz="2800" b="1">
                <a:solidFill>
                  <a:srgbClr val="FFFFFF"/>
                </a:solidFill>
                <a:latin typeface="Lato"/>
              </a:rPr>
              <a:t>Scenario 1. Expected Payoff: </a:t>
            </a:r>
            <a:r>
              <a:rPr lang="en-US" sz="2800">
                <a:solidFill>
                  <a:srgbClr val="FFFFFF"/>
                </a:solidFill>
                <a:latin typeface="Lato"/>
              </a:rPr>
              <a:t>$120 Million</a:t>
            </a:r>
            <a:r>
              <a:rPr lang="en-US" sz="2800">
                <a:latin typeface="Lato"/>
              </a:rPr>
              <a:t>​</a:t>
            </a:r>
          </a:p>
        </p:txBody>
      </p:sp>
      <p:pic>
        <p:nvPicPr>
          <p:cNvPr id="7" name="Рисунок 6" descr="Изображение выглядит как текст, снимок экрана, диаграмма, Прямоугольник&#10;&#10;Автоматически созданное описание">
            <a:extLst>
              <a:ext uri="{FF2B5EF4-FFF2-40B4-BE49-F238E27FC236}">
                <a16:creationId xmlns:a16="http://schemas.microsoft.com/office/drawing/2014/main" id="{81597751-94BA-D3D7-F8CC-6FB30641D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444" y="2976563"/>
            <a:ext cx="4905375" cy="43338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0EB9CD-4C86-3C9F-27E7-CEDF8E87ECCA}"/>
              </a:ext>
            </a:extLst>
          </p:cNvPr>
          <p:cNvSpPr txBox="1"/>
          <p:nvPr/>
        </p:nvSpPr>
        <p:spPr>
          <a:xfrm>
            <a:off x="7608094" y="9022557"/>
            <a:ext cx="5086349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>
                <a:solidFill>
                  <a:schemeClr val="bg1"/>
                </a:solidFill>
              </a:rPr>
              <a:t>GridSearch</a:t>
            </a:r>
            <a:endParaRPr lang="en-US" err="1">
              <a:solidFill>
                <a:schemeClr val="bg1"/>
              </a:solidFill>
            </a:endParaRPr>
          </a:p>
          <a:p>
            <a:r>
              <a:rPr lang="en-US">
                <a:solidFill>
                  <a:srgbClr val="FFFFFF"/>
                </a:solidFill>
              </a:rPr>
              <a:t>Best Hyperparameters: {'</a:t>
            </a:r>
            <a:r>
              <a:rPr lang="en-US" err="1">
                <a:solidFill>
                  <a:srgbClr val="FFFFFF"/>
                </a:solidFill>
              </a:rPr>
              <a:t>activation_function</a:t>
            </a:r>
            <a:r>
              <a:rPr lang="en-US">
                <a:solidFill>
                  <a:srgbClr val="FFFFFF"/>
                </a:solidFill>
              </a:rPr>
              <a:t>': 'tanh', '</a:t>
            </a:r>
            <a:r>
              <a:rPr lang="en-US" err="1">
                <a:solidFill>
                  <a:srgbClr val="FFFFFF"/>
                </a:solidFill>
              </a:rPr>
              <a:t>dropout_rate</a:t>
            </a:r>
            <a:r>
              <a:rPr lang="en-US">
                <a:solidFill>
                  <a:srgbClr val="FFFFFF"/>
                </a:solidFill>
              </a:rPr>
              <a:t>': 0.4, '</a:t>
            </a:r>
            <a:r>
              <a:rPr lang="en-US" err="1">
                <a:solidFill>
                  <a:srgbClr val="FFFFFF"/>
                </a:solidFill>
              </a:rPr>
              <a:t>num_layers</a:t>
            </a:r>
            <a:r>
              <a:rPr lang="en-US">
                <a:solidFill>
                  <a:srgbClr val="FFFFFF"/>
                </a:solidFill>
              </a:rPr>
              <a:t>': 2, '</a:t>
            </a:r>
            <a:r>
              <a:rPr lang="en-US" err="1">
                <a:solidFill>
                  <a:srgbClr val="FFFFFF"/>
                </a:solidFill>
              </a:rPr>
              <a:t>num_neurons</a:t>
            </a:r>
            <a:r>
              <a:rPr lang="en-US">
                <a:solidFill>
                  <a:srgbClr val="FFFFFF"/>
                </a:solidFill>
              </a:rPr>
              <a:t>': 128, 'optimizer': '</a:t>
            </a:r>
            <a:r>
              <a:rPr lang="en-US" err="1">
                <a:solidFill>
                  <a:srgbClr val="FFFFFF"/>
                </a:solidFill>
              </a:rPr>
              <a:t>sgd</a:t>
            </a:r>
            <a:r>
              <a:rPr lang="en-US">
                <a:solidFill>
                  <a:srgbClr val="FFFFFF"/>
                </a:solidFill>
              </a:rPr>
              <a:t>'} </a:t>
            </a:r>
            <a:endParaRPr lang="en-US"/>
          </a:p>
          <a:p>
            <a:r>
              <a:rPr lang="en-US">
                <a:solidFill>
                  <a:schemeClr val="bg1"/>
                </a:solidFill>
              </a:rPr>
              <a:t>Cutoff: 0.0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597AB4-6B69-44D5-84ED-02FCECA79C97}"/>
              </a:ext>
            </a:extLst>
          </p:cNvPr>
          <p:cNvSpPr txBox="1"/>
          <p:nvPr/>
        </p:nvSpPr>
        <p:spPr>
          <a:xfrm>
            <a:off x="13101638" y="9115426"/>
            <a:ext cx="5086349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>
                <a:solidFill>
                  <a:schemeClr val="bg1"/>
                </a:solidFill>
              </a:rPr>
              <a:t>GridSearch</a:t>
            </a:r>
            <a:endParaRPr lang="en-US" err="1">
              <a:solidFill>
                <a:schemeClr val="bg1"/>
              </a:solidFill>
            </a:endParaRPr>
          </a:p>
          <a:p>
            <a:r>
              <a:rPr lang="en-US">
                <a:solidFill>
                  <a:schemeClr val="bg1"/>
                </a:solidFill>
              </a:rPr>
              <a:t>Best Hyperparameters: {'</a:t>
            </a:r>
            <a:r>
              <a:rPr lang="en-US" err="1">
                <a:solidFill>
                  <a:schemeClr val="bg1"/>
                </a:solidFill>
              </a:rPr>
              <a:t>activation_function</a:t>
            </a:r>
            <a:r>
              <a:rPr lang="en-US">
                <a:solidFill>
                  <a:schemeClr val="bg1"/>
                </a:solidFill>
              </a:rPr>
              <a:t>': '</a:t>
            </a:r>
            <a:r>
              <a:rPr lang="en-US" err="1">
                <a:solidFill>
                  <a:schemeClr val="bg1"/>
                </a:solidFill>
              </a:rPr>
              <a:t>relu</a:t>
            </a:r>
            <a:r>
              <a:rPr lang="en-US">
                <a:solidFill>
                  <a:schemeClr val="bg1"/>
                </a:solidFill>
              </a:rPr>
              <a:t>', '</a:t>
            </a:r>
            <a:r>
              <a:rPr lang="en-US" err="1">
                <a:solidFill>
                  <a:schemeClr val="bg1"/>
                </a:solidFill>
              </a:rPr>
              <a:t>dropout_rate</a:t>
            </a:r>
            <a:r>
              <a:rPr lang="en-US">
                <a:solidFill>
                  <a:schemeClr val="bg1"/>
                </a:solidFill>
              </a:rPr>
              <a:t>': 0.4, '</a:t>
            </a:r>
            <a:r>
              <a:rPr lang="en-US" err="1">
                <a:solidFill>
                  <a:schemeClr val="bg1"/>
                </a:solidFill>
              </a:rPr>
              <a:t>num_layers</a:t>
            </a:r>
            <a:r>
              <a:rPr lang="en-US">
                <a:solidFill>
                  <a:schemeClr val="bg1"/>
                </a:solidFill>
              </a:rPr>
              <a:t>': 2, '</a:t>
            </a:r>
            <a:r>
              <a:rPr lang="en-US" err="1">
                <a:solidFill>
                  <a:schemeClr val="bg1"/>
                </a:solidFill>
              </a:rPr>
              <a:t>num_neurons</a:t>
            </a:r>
            <a:r>
              <a:rPr lang="en-US">
                <a:solidFill>
                  <a:schemeClr val="bg1"/>
                </a:solidFill>
              </a:rPr>
              <a:t>': 64, 'optimizer': '</a:t>
            </a:r>
            <a:r>
              <a:rPr lang="en-US" err="1">
                <a:solidFill>
                  <a:schemeClr val="bg1"/>
                </a:solidFill>
              </a:rPr>
              <a:t>adam</a:t>
            </a:r>
            <a:r>
              <a:rPr lang="en-US">
                <a:solidFill>
                  <a:schemeClr val="bg1"/>
                </a:solidFill>
              </a:rPr>
              <a:t>'} </a:t>
            </a:r>
          </a:p>
          <a:p>
            <a:r>
              <a:rPr lang="en-US">
                <a:solidFill>
                  <a:schemeClr val="bg1"/>
                </a:solidFill>
              </a:rPr>
              <a:t>Cutoff: 0.118</a:t>
            </a:r>
          </a:p>
        </p:txBody>
      </p:sp>
    </p:spTree>
    <p:extLst>
      <p:ext uri="{BB962C8B-B14F-4D97-AF65-F5344CB8AC3E}">
        <p14:creationId xmlns:p14="http://schemas.microsoft.com/office/powerpoint/2010/main" val="3238514955"/>
      </p:ext>
    </p:extLst>
  </p:cSld>
  <p:clrMapOvr>
    <a:masterClrMapping/>
  </p:clrMapOvr>
  <p:transition spd="slow">
    <p:push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DC6D"/>
        </a:solidFill>
        <a:effectLst/>
      </p:bgPr>
    </p:bg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5" name="Google Shape;355;g31abfd2b4e9_0_471"/>
          <p:cNvGrpSpPr/>
          <p:nvPr/>
        </p:nvGrpSpPr>
        <p:grpSpPr>
          <a:xfrm>
            <a:off x="4492381" y="-2034298"/>
            <a:ext cx="12917993" cy="12321289"/>
            <a:chOff x="0" y="-200025"/>
            <a:chExt cx="812800" cy="1211509"/>
          </a:xfrm>
        </p:grpSpPr>
        <p:sp>
          <p:nvSpPr>
            <p:cNvPr id="356" name="Google Shape;356;g31abfd2b4e9_0_471"/>
            <p:cNvSpPr/>
            <p:nvPr/>
          </p:nvSpPr>
          <p:spPr>
            <a:xfrm>
              <a:off x="0" y="0"/>
              <a:ext cx="812800" cy="1011484"/>
            </a:xfrm>
            <a:custGeom>
              <a:avLst/>
              <a:gdLst/>
              <a:ahLst/>
              <a:cxnLst/>
              <a:rect l="l" t="t" r="r" b="b"/>
              <a:pathLst>
                <a:path w="812800" h="1011484" extrusionOk="0">
                  <a:moveTo>
                    <a:pt x="203200" y="1011484"/>
                  </a:moveTo>
                  <a:lnTo>
                    <a:pt x="609600" y="1011484"/>
                  </a:lnTo>
                  <a:lnTo>
                    <a:pt x="812800" y="0"/>
                  </a:lnTo>
                  <a:lnTo>
                    <a:pt x="0" y="0"/>
                  </a:lnTo>
                  <a:lnTo>
                    <a:pt x="203200" y="101148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</p:sp>
        <p:sp>
          <p:nvSpPr>
            <p:cNvPr id="357" name="Google Shape;357;g31abfd2b4e9_0_471"/>
            <p:cNvSpPr txBox="1"/>
            <p:nvPr/>
          </p:nvSpPr>
          <p:spPr>
            <a:xfrm>
              <a:off x="127000" y="-200025"/>
              <a:ext cx="558900" cy="121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r" rtl="0">
                <a:lnSpc>
                  <a:spcPct val="785111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58" name="Google Shape;358;g31abfd2b4e9_0_471"/>
          <p:cNvGrpSpPr/>
          <p:nvPr/>
        </p:nvGrpSpPr>
        <p:grpSpPr>
          <a:xfrm>
            <a:off x="13061371" y="-108497"/>
            <a:ext cx="6120671" cy="10395563"/>
            <a:chOff x="0" y="-28575"/>
            <a:chExt cx="1612018" cy="2737908"/>
          </a:xfrm>
        </p:grpSpPr>
        <p:sp>
          <p:nvSpPr>
            <p:cNvPr id="359" name="Google Shape;359;g31abfd2b4e9_0_471"/>
            <p:cNvSpPr/>
            <p:nvPr/>
          </p:nvSpPr>
          <p:spPr>
            <a:xfrm>
              <a:off x="0" y="0"/>
              <a:ext cx="1612018" cy="2709333"/>
            </a:xfrm>
            <a:custGeom>
              <a:avLst/>
              <a:gdLst/>
              <a:ahLst/>
              <a:cxnLst/>
              <a:rect l="l" t="t" r="r" b="b"/>
              <a:pathLst>
                <a:path w="1612018" h="2709333" extrusionOk="0">
                  <a:moveTo>
                    <a:pt x="0" y="0"/>
                  </a:moveTo>
                  <a:lnTo>
                    <a:pt x="1612018" y="0"/>
                  </a:lnTo>
                  <a:lnTo>
                    <a:pt x="161201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</p:sp>
        <p:sp>
          <p:nvSpPr>
            <p:cNvPr id="360" name="Google Shape;360;g31abfd2b4e9_0_471"/>
            <p:cNvSpPr txBox="1"/>
            <p:nvPr/>
          </p:nvSpPr>
          <p:spPr>
            <a:xfrm>
              <a:off x="0" y="-28575"/>
              <a:ext cx="1611900" cy="2737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1" name="Google Shape;361;g31abfd2b4e9_0_471"/>
          <p:cNvSpPr/>
          <p:nvPr/>
        </p:nvSpPr>
        <p:spPr>
          <a:xfrm rot="-5400000">
            <a:off x="3705823" y="-1007254"/>
            <a:ext cx="1197677" cy="3213281"/>
          </a:xfrm>
          <a:custGeom>
            <a:avLst/>
            <a:gdLst/>
            <a:ahLst/>
            <a:cxnLst/>
            <a:rect l="l" t="t" r="r" b="b"/>
            <a:pathLst>
              <a:path w="2617874" h="7023564" extrusionOk="0">
                <a:moveTo>
                  <a:pt x="0" y="0"/>
                </a:moveTo>
                <a:lnTo>
                  <a:pt x="2617874" y="0"/>
                </a:lnTo>
                <a:lnTo>
                  <a:pt x="2617874" y="7023564"/>
                </a:lnTo>
                <a:lnTo>
                  <a:pt x="0" y="702356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362" name="Google Shape;362;g31abfd2b4e9_0_471"/>
          <p:cNvSpPr/>
          <p:nvPr/>
        </p:nvSpPr>
        <p:spPr>
          <a:xfrm>
            <a:off x="-3" y="8969578"/>
            <a:ext cx="1316364" cy="1316364"/>
          </a:xfrm>
          <a:custGeom>
            <a:avLst/>
            <a:gdLst/>
            <a:ahLst/>
            <a:cxnLst/>
            <a:rect l="l" t="t" r="r" b="b"/>
            <a:pathLst>
              <a:path w="3079215" h="3079215" extrusionOk="0">
                <a:moveTo>
                  <a:pt x="0" y="0"/>
                </a:moveTo>
                <a:lnTo>
                  <a:pt x="3079215" y="0"/>
                </a:lnTo>
                <a:lnTo>
                  <a:pt x="3079215" y="3079215"/>
                </a:lnTo>
                <a:lnTo>
                  <a:pt x="0" y="307921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grpSp>
        <p:nvGrpSpPr>
          <p:cNvPr id="363" name="Google Shape;363;g31abfd2b4e9_0_471"/>
          <p:cNvGrpSpPr/>
          <p:nvPr/>
        </p:nvGrpSpPr>
        <p:grpSpPr>
          <a:xfrm>
            <a:off x="325026" y="-3788878"/>
            <a:ext cx="3430932" cy="6887468"/>
            <a:chOff x="101351" y="-2729353"/>
            <a:chExt cx="3430932" cy="6887468"/>
          </a:xfrm>
        </p:grpSpPr>
        <p:sp>
          <p:nvSpPr>
            <p:cNvPr id="364" name="Google Shape;364;g31abfd2b4e9_0_471"/>
            <p:cNvSpPr/>
            <p:nvPr/>
          </p:nvSpPr>
          <p:spPr>
            <a:xfrm rot="10800000">
              <a:off x="101351" y="-2729353"/>
              <a:ext cx="3430932" cy="6887468"/>
            </a:xfrm>
            <a:custGeom>
              <a:avLst/>
              <a:gdLst/>
              <a:ahLst/>
              <a:cxnLst/>
              <a:rect l="l" t="t" r="r" b="b"/>
              <a:pathLst>
                <a:path w="5036600" h="10110787" extrusionOk="0">
                  <a:moveTo>
                    <a:pt x="0" y="0"/>
                  </a:moveTo>
                  <a:lnTo>
                    <a:pt x="5036600" y="0"/>
                  </a:lnTo>
                  <a:lnTo>
                    <a:pt x="5036600" y="10110787"/>
                  </a:lnTo>
                  <a:lnTo>
                    <a:pt x="0" y="10110787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5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pic>
          <p:nvPicPr>
            <p:cNvPr id="365" name="Google Shape;365;g31abfd2b4e9_0_471"/>
            <p:cNvPicPr preferRelativeResize="0"/>
            <p:nvPr/>
          </p:nvPicPr>
          <p:blipFill rotWithShape="1">
            <a:blip r:embed="rId6">
              <a:alphaModFix/>
            </a:blip>
            <a:srcRect l="19293" t="6333" r="15128" b="48651"/>
            <a:stretch/>
          </p:blipFill>
          <p:spPr>
            <a:xfrm>
              <a:off x="308343" y="897061"/>
              <a:ext cx="3016946" cy="310613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66" name="Google Shape;366;g31abfd2b4e9_0_471"/>
          <p:cNvGrpSpPr/>
          <p:nvPr/>
        </p:nvGrpSpPr>
        <p:grpSpPr>
          <a:xfrm>
            <a:off x="1147111" y="7265445"/>
            <a:ext cx="3424888" cy="6875335"/>
            <a:chOff x="2198561" y="5165670"/>
            <a:chExt cx="3424888" cy="6875335"/>
          </a:xfrm>
        </p:grpSpPr>
        <p:sp>
          <p:nvSpPr>
            <p:cNvPr id="367" name="Google Shape;367;g31abfd2b4e9_0_471"/>
            <p:cNvSpPr/>
            <p:nvPr/>
          </p:nvSpPr>
          <p:spPr>
            <a:xfrm>
              <a:off x="2198561" y="5165670"/>
              <a:ext cx="3424888" cy="6875335"/>
            </a:xfrm>
            <a:custGeom>
              <a:avLst/>
              <a:gdLst/>
              <a:ahLst/>
              <a:cxnLst/>
              <a:rect l="l" t="t" r="r" b="b"/>
              <a:pathLst>
                <a:path w="5036600" h="10110787" extrusionOk="0">
                  <a:moveTo>
                    <a:pt x="0" y="0"/>
                  </a:moveTo>
                  <a:lnTo>
                    <a:pt x="5036600" y="0"/>
                  </a:lnTo>
                  <a:lnTo>
                    <a:pt x="5036600" y="10110787"/>
                  </a:lnTo>
                  <a:lnTo>
                    <a:pt x="0" y="10110787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5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pic>
          <p:nvPicPr>
            <p:cNvPr id="368" name="Google Shape;368;g31abfd2b4e9_0_471"/>
            <p:cNvPicPr preferRelativeResize="0"/>
            <p:nvPr/>
          </p:nvPicPr>
          <p:blipFill rotWithShape="1">
            <a:blip r:embed="rId7">
              <a:alphaModFix/>
            </a:blip>
            <a:srcRect l="17959" t="16538" r="33424" b="7910"/>
            <a:stretch/>
          </p:blipFill>
          <p:spPr>
            <a:xfrm>
              <a:off x="2405554" y="5330320"/>
              <a:ext cx="3016946" cy="310613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69" name="Google Shape;369;g31abfd2b4e9_0_471"/>
            <p:cNvSpPr/>
            <p:nvPr/>
          </p:nvSpPr>
          <p:spPr>
            <a:xfrm rot="10800000">
              <a:off x="3578332" y="5543586"/>
              <a:ext cx="671391" cy="194874"/>
            </a:xfrm>
            <a:custGeom>
              <a:avLst/>
              <a:gdLst/>
              <a:ahLst/>
              <a:cxnLst/>
              <a:rect l="l" t="t" r="r" b="b"/>
              <a:pathLst>
                <a:path w="985600" h="286074" extrusionOk="0">
                  <a:moveTo>
                    <a:pt x="0" y="0"/>
                  </a:moveTo>
                  <a:lnTo>
                    <a:pt x="985600" y="0"/>
                  </a:lnTo>
                  <a:lnTo>
                    <a:pt x="985600" y="286075"/>
                  </a:lnTo>
                  <a:lnTo>
                    <a:pt x="0" y="286075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5">
                <a:alphaModFix/>
              </a:blip>
              <a:stretch>
                <a:fillRect l="-189208" t="-177292" r="-189787" b="-3032874"/>
              </a:stretch>
            </a:blipFill>
            <a:ln>
              <a:noFill/>
            </a:ln>
          </p:spPr>
        </p:sp>
      </p:grpSp>
      <p:sp>
        <p:nvSpPr>
          <p:cNvPr id="370" name="Google Shape;370;g31abfd2b4e9_0_471"/>
          <p:cNvSpPr txBox="1"/>
          <p:nvPr/>
        </p:nvSpPr>
        <p:spPr>
          <a:xfrm>
            <a:off x="6996932" y="1221476"/>
            <a:ext cx="11492866" cy="8626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r>
              <a:rPr lang="en-US" sz="2800">
                <a:solidFill>
                  <a:srgbClr val="FFFFFF"/>
                </a:solidFill>
                <a:ea typeface="Lato"/>
                <a:sym typeface="Lato"/>
              </a:rPr>
              <a:t>We recommend Spotify adopt the neural network model for its promotional strategy. </a:t>
            </a: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endParaRPr lang="en-US" sz="2800">
              <a:solidFill>
                <a:srgbClr val="FFFFFF"/>
              </a:solidFill>
              <a:ea typeface="Lato"/>
            </a:endParaRPr>
          </a:p>
          <a:p>
            <a:pPr marL="457200" indent="-419100">
              <a:lnSpc>
                <a:spcPct val="182037"/>
              </a:lnSpc>
              <a:buClr>
                <a:srgbClr val="FFFFFF"/>
              </a:buClr>
              <a:buSzPts val="3000"/>
              <a:buFont typeface="Lato"/>
              <a:buChar char="●"/>
            </a:pPr>
            <a:r>
              <a:rPr lang="en-US" sz="2800">
                <a:solidFill>
                  <a:srgbClr val="FFFFFF"/>
                </a:solidFill>
                <a:ea typeface="Lato"/>
              </a:rPr>
              <a:t>As you can see the neural network model consistently delivers a higher ROI while maintaining budget flexibility and scalability. With this approach, Spotify maximizes profit potential and reduces risks associated with over-investment in less promising tracks. </a:t>
            </a:r>
            <a:endParaRPr lang="en-US" sz="2800"/>
          </a:p>
        </p:txBody>
      </p:sp>
      <p:sp>
        <p:nvSpPr>
          <p:cNvPr id="371" name="Google Shape;371;g31abfd2b4e9_0_471"/>
          <p:cNvSpPr txBox="1"/>
          <p:nvPr/>
        </p:nvSpPr>
        <p:spPr>
          <a:xfrm>
            <a:off x="5262596" y="482418"/>
            <a:ext cx="7762800" cy="8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8"/>
              <a:buFont typeface="Arial"/>
              <a:buNone/>
            </a:pPr>
            <a:r>
              <a:rPr lang="en-US" sz="72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Recommendations</a:t>
            </a:r>
            <a:endParaRPr sz="72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Picture 6" descr="A white rectangular box with black text&#10;&#10;Description automatically generated">
            <a:extLst>
              <a:ext uri="{FF2B5EF4-FFF2-40B4-BE49-F238E27FC236}">
                <a16:creationId xmlns:a16="http://schemas.microsoft.com/office/drawing/2014/main" id="{3BE54AF6-CD5A-5FE9-4E42-D1E9A28C77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07826" y="4634814"/>
            <a:ext cx="9853483" cy="1521940"/>
          </a:xfrm>
          <a:prstGeom prst="rect">
            <a:avLst/>
          </a:prstGeom>
        </p:spPr>
      </p:pic>
      <p:pic>
        <p:nvPicPr>
          <p:cNvPr id="9" name="Picture 8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CE26AA69-12E5-3FD0-DBC0-296EE6751A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99073" y="2992008"/>
            <a:ext cx="9860692" cy="148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577898"/>
      </p:ext>
    </p:extLst>
  </p:cSld>
  <p:clrMapOvr>
    <a:masterClrMapping/>
  </p:clrMapOvr>
  <p:transition spd="slow">
    <p:push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g31abfd2b4e9_0_1"/>
          <p:cNvSpPr/>
          <p:nvPr/>
        </p:nvSpPr>
        <p:spPr>
          <a:xfrm>
            <a:off x="-3349847" y="781850"/>
            <a:ext cx="9375601" cy="6562921"/>
          </a:xfrm>
          <a:custGeom>
            <a:avLst/>
            <a:gdLst/>
            <a:ahLst/>
            <a:cxnLst/>
            <a:rect l="l" t="t" r="r" b="b"/>
            <a:pathLst>
              <a:path w="9375601" h="6562921" extrusionOk="0">
                <a:moveTo>
                  <a:pt x="0" y="0"/>
                </a:moveTo>
                <a:lnTo>
                  <a:pt x="9375601" y="0"/>
                </a:lnTo>
                <a:lnTo>
                  <a:pt x="9375601" y="6562921"/>
                </a:lnTo>
                <a:lnTo>
                  <a:pt x="0" y="656292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92" name="Google Shape;392;g31abfd2b4e9_0_1"/>
          <p:cNvSpPr txBox="1"/>
          <p:nvPr/>
        </p:nvSpPr>
        <p:spPr>
          <a:xfrm>
            <a:off x="7240424" y="1331505"/>
            <a:ext cx="10018800" cy="58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100"/>
              <a:buFont typeface="Arial"/>
              <a:buNone/>
            </a:pPr>
            <a:r>
              <a:rPr lang="en-US" sz="21100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Thank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100"/>
              <a:buFont typeface="Arial"/>
              <a:buNone/>
            </a:pPr>
            <a:r>
              <a:rPr lang="en-US" sz="21100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You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2157054-2D28-DC8D-1F47-09C962E4B5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163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98BDEA03-6058-2E40-A91C-A1EA897AAA6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6600"/>
              <a:t>Team Members</a:t>
            </a:r>
          </a:p>
        </p:txBody>
      </p:sp>
      <p:pic>
        <p:nvPicPr>
          <p:cNvPr id="5" name="Picture 4" descr="A person in a suit&#10;&#10;Description automatically generated">
            <a:extLst>
              <a:ext uri="{FF2B5EF4-FFF2-40B4-BE49-F238E27FC236}">
                <a16:creationId xmlns:a16="http://schemas.microsoft.com/office/drawing/2014/main" id="{4619CB07-BEB5-CC4C-BF8D-E904E3792E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603" y="2858400"/>
            <a:ext cx="2068033" cy="2162487"/>
          </a:xfrm>
          <a:prstGeom prst="rect">
            <a:avLst/>
          </a:prstGeom>
        </p:spPr>
      </p:pic>
      <p:pic>
        <p:nvPicPr>
          <p:cNvPr id="6" name="Picture 5" descr="A person in a suit smiling&#10;&#10;Description automatically generated">
            <a:extLst>
              <a:ext uri="{FF2B5EF4-FFF2-40B4-BE49-F238E27FC236}">
                <a16:creationId xmlns:a16="http://schemas.microsoft.com/office/drawing/2014/main" id="{7FF0ADAA-0CA6-A08F-F362-F135F327A8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06814" y="2556687"/>
            <a:ext cx="2765913" cy="2464200"/>
          </a:xfrm>
          <a:prstGeom prst="rect">
            <a:avLst/>
          </a:prstGeom>
        </p:spPr>
      </p:pic>
      <p:pic>
        <p:nvPicPr>
          <p:cNvPr id="7" name="Picture 6" descr="A person smiling for a picture&#10;&#10;Description automatically generated">
            <a:extLst>
              <a:ext uri="{FF2B5EF4-FFF2-40B4-BE49-F238E27FC236}">
                <a16:creationId xmlns:a16="http://schemas.microsoft.com/office/drawing/2014/main" id="{23BDF701-6D13-339E-7F17-A5800F27E4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3742" y="2757441"/>
            <a:ext cx="2898280" cy="2540302"/>
          </a:xfrm>
          <a:prstGeom prst="rect">
            <a:avLst/>
          </a:prstGeom>
        </p:spPr>
      </p:pic>
      <p:pic>
        <p:nvPicPr>
          <p:cNvPr id="8" name="Picture 7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7BC0F140-5EEF-8CA9-AF63-6743CA0E6B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04563" y="6306622"/>
            <a:ext cx="2377323" cy="2428200"/>
          </a:xfrm>
          <a:prstGeom prst="rect">
            <a:avLst/>
          </a:prstGeom>
        </p:spPr>
      </p:pic>
      <p:pic>
        <p:nvPicPr>
          <p:cNvPr id="9" name="Picture 8" descr="A person in a suit and tie&#10;&#10;Description automatically generated">
            <a:extLst>
              <a:ext uri="{FF2B5EF4-FFF2-40B4-BE49-F238E27FC236}">
                <a16:creationId xmlns:a16="http://schemas.microsoft.com/office/drawing/2014/main" id="{CD8FD193-321C-AC28-69B2-E6F9133085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702" y="6254769"/>
            <a:ext cx="2586477" cy="2415770"/>
          </a:xfrm>
          <a:prstGeom prst="rect">
            <a:avLst/>
          </a:prstGeom>
        </p:spPr>
      </p:pic>
      <p:pic>
        <p:nvPicPr>
          <p:cNvPr id="10" name="Picture 9" descr="A person smiling in front of red flowers&#10;&#10;Description automatically generated">
            <a:extLst>
              <a:ext uri="{FF2B5EF4-FFF2-40B4-BE49-F238E27FC236}">
                <a16:creationId xmlns:a16="http://schemas.microsoft.com/office/drawing/2014/main" id="{D090CC4C-EF30-30FD-9F4B-E7D435344E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698777" y="6363552"/>
            <a:ext cx="2377323" cy="23712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C6636C3-CDB6-049B-68B5-A6CCB2A7F3FB}"/>
              </a:ext>
            </a:extLst>
          </p:cNvPr>
          <p:cNvSpPr txBox="1"/>
          <p:nvPr/>
        </p:nvSpPr>
        <p:spPr>
          <a:xfrm>
            <a:off x="41510" y="5097688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Ivan </a:t>
            </a:r>
            <a:r>
              <a:rPr lang="en-US" sz="2000" b="1" err="1">
                <a:solidFill>
                  <a:schemeClr val="bg1"/>
                </a:solidFill>
              </a:rPr>
              <a:t>Chichikin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AF3CAA-BE99-C5E2-6849-51B8BFA89BDF}"/>
              </a:ext>
            </a:extLst>
          </p:cNvPr>
          <p:cNvSpPr txBox="1"/>
          <p:nvPr/>
        </p:nvSpPr>
        <p:spPr>
          <a:xfrm>
            <a:off x="6788773" y="5297743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Isha Deshmuk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117391-FF7A-E7FD-D4A6-5DCCFE46D6A0}"/>
              </a:ext>
            </a:extLst>
          </p:cNvPr>
          <p:cNvSpPr txBox="1"/>
          <p:nvPr/>
        </p:nvSpPr>
        <p:spPr>
          <a:xfrm>
            <a:off x="14085661" y="5243712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Ted Ma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184A4-E79C-6795-BE4F-69D26D9EEB3F}"/>
              </a:ext>
            </a:extLst>
          </p:cNvPr>
          <p:cNvSpPr txBox="1"/>
          <p:nvPr/>
        </p:nvSpPr>
        <p:spPr>
          <a:xfrm>
            <a:off x="50735" y="8955121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err="1">
                <a:solidFill>
                  <a:schemeClr val="bg1"/>
                </a:solidFill>
              </a:rPr>
              <a:t>Dindo</a:t>
            </a:r>
            <a:r>
              <a:rPr lang="en-US" sz="2000" b="1">
                <a:solidFill>
                  <a:schemeClr val="bg1"/>
                </a:solidFill>
              </a:rPr>
              <a:t> Marco </a:t>
            </a:r>
            <a:r>
              <a:rPr lang="en-US" sz="2000" b="1" err="1">
                <a:solidFill>
                  <a:schemeClr val="bg1"/>
                </a:solidFill>
              </a:rPr>
              <a:t>Dioso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E3B42A-75F2-5BE0-1764-364D39D35E6A}"/>
              </a:ext>
            </a:extLst>
          </p:cNvPr>
          <p:cNvSpPr txBox="1"/>
          <p:nvPr/>
        </p:nvSpPr>
        <p:spPr>
          <a:xfrm>
            <a:off x="6889115" y="9143536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Archita </a:t>
            </a:r>
            <a:r>
              <a:rPr lang="en-US" sz="2000" b="1" err="1">
                <a:solidFill>
                  <a:schemeClr val="bg1"/>
                </a:solidFill>
              </a:rPr>
              <a:t>Dhande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D8BFEF-6353-75D2-972A-F87AB6E9F082}"/>
              </a:ext>
            </a:extLst>
          </p:cNvPr>
          <p:cNvSpPr txBox="1"/>
          <p:nvPr/>
        </p:nvSpPr>
        <p:spPr>
          <a:xfrm>
            <a:off x="14117779" y="9169322"/>
            <a:ext cx="3408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Shalini Kumari</a:t>
            </a:r>
          </a:p>
        </p:txBody>
      </p:sp>
    </p:spTree>
    <p:extLst>
      <p:ext uri="{BB962C8B-B14F-4D97-AF65-F5344CB8AC3E}">
        <p14:creationId xmlns:p14="http://schemas.microsoft.com/office/powerpoint/2010/main" val="3248052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2"/>
          <p:cNvGrpSpPr/>
          <p:nvPr/>
        </p:nvGrpSpPr>
        <p:grpSpPr>
          <a:xfrm rot="5400000">
            <a:off x="10217198" y="2107702"/>
            <a:ext cx="10287000" cy="6071596"/>
            <a:chOff x="0" y="-28575"/>
            <a:chExt cx="2709333" cy="1599103"/>
          </a:xfrm>
        </p:grpSpPr>
        <p:sp>
          <p:nvSpPr>
            <p:cNvPr id="159" name="Google Shape;159;p2"/>
            <p:cNvSpPr/>
            <p:nvPr/>
          </p:nvSpPr>
          <p:spPr>
            <a:xfrm>
              <a:off x="0" y="0"/>
              <a:ext cx="2709333" cy="1570528"/>
            </a:xfrm>
            <a:custGeom>
              <a:avLst/>
              <a:gdLst/>
              <a:ahLst/>
              <a:cxnLst/>
              <a:rect l="l" t="t" r="r" b="b"/>
              <a:pathLst>
                <a:path w="2709333" h="1570528" extrusionOk="0">
                  <a:moveTo>
                    <a:pt x="0" y="0"/>
                  </a:moveTo>
                  <a:lnTo>
                    <a:pt x="2709333" y="0"/>
                  </a:lnTo>
                  <a:lnTo>
                    <a:pt x="2709333" y="1570528"/>
                  </a:lnTo>
                  <a:lnTo>
                    <a:pt x="0" y="1570528"/>
                  </a:lnTo>
                  <a:close/>
                </a:path>
              </a:pathLst>
            </a:custGeom>
            <a:gradFill>
              <a:gsLst>
                <a:gs pos="0">
                  <a:srgbClr val="6AE870"/>
                </a:gs>
                <a:gs pos="100000">
                  <a:srgbClr val="000000"/>
                </a:gs>
              </a:gsLst>
              <a:lin ang="5400000" scaled="0"/>
            </a:gra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Google Shape;160;p2"/>
            <p:cNvSpPr txBox="1"/>
            <p:nvPr/>
          </p:nvSpPr>
          <p:spPr>
            <a:xfrm>
              <a:off x="0" y="-28575"/>
              <a:ext cx="2709333" cy="1599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" name="Google Shape;161;p2"/>
          <p:cNvSpPr/>
          <p:nvPr/>
        </p:nvSpPr>
        <p:spPr>
          <a:xfrm>
            <a:off x="7565689" y="141999"/>
            <a:ext cx="3156622" cy="3215078"/>
          </a:xfrm>
          <a:custGeom>
            <a:avLst/>
            <a:gdLst/>
            <a:ahLst/>
            <a:cxnLst/>
            <a:rect l="l" t="t" r="r" b="b"/>
            <a:pathLst>
              <a:path w="3156622" h="3215078" extrusionOk="0">
                <a:moveTo>
                  <a:pt x="0" y="0"/>
                </a:moveTo>
                <a:lnTo>
                  <a:pt x="3156622" y="0"/>
                </a:lnTo>
                <a:lnTo>
                  <a:pt x="3156622" y="3215078"/>
                </a:lnTo>
                <a:lnTo>
                  <a:pt x="0" y="321507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2" name="Google Shape;162;p2"/>
          <p:cNvSpPr/>
          <p:nvPr/>
        </p:nvSpPr>
        <p:spPr>
          <a:xfrm>
            <a:off x="8101256" y="945590"/>
            <a:ext cx="8714962" cy="8714962"/>
          </a:xfrm>
          <a:custGeom>
            <a:avLst/>
            <a:gdLst/>
            <a:ahLst/>
            <a:cxnLst/>
            <a:rect l="l" t="t" r="r" b="b"/>
            <a:pathLst>
              <a:path w="8714962" h="8714962" extrusionOk="0">
                <a:moveTo>
                  <a:pt x="0" y="0"/>
                </a:moveTo>
                <a:lnTo>
                  <a:pt x="8714963" y="0"/>
                </a:lnTo>
                <a:lnTo>
                  <a:pt x="8714963" y="8714962"/>
                </a:lnTo>
                <a:lnTo>
                  <a:pt x="0" y="871496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 amt="32999"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4" name="Google Shape;164;p2"/>
          <p:cNvSpPr/>
          <p:nvPr/>
        </p:nvSpPr>
        <p:spPr>
          <a:xfrm>
            <a:off x="14855460" y="6634969"/>
            <a:ext cx="2532809" cy="2532809"/>
          </a:xfrm>
          <a:custGeom>
            <a:avLst/>
            <a:gdLst/>
            <a:ahLst/>
            <a:cxnLst/>
            <a:rect l="l" t="t" r="r" b="b"/>
            <a:pathLst>
              <a:path w="2532809" h="2532809" extrusionOk="0">
                <a:moveTo>
                  <a:pt x="0" y="0"/>
                </a:moveTo>
                <a:lnTo>
                  <a:pt x="2532809" y="0"/>
                </a:lnTo>
                <a:lnTo>
                  <a:pt x="2532809" y="2532809"/>
                </a:lnTo>
                <a:lnTo>
                  <a:pt x="0" y="253280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5" name="Google Shape;165;p2"/>
          <p:cNvSpPr txBox="1"/>
          <p:nvPr/>
        </p:nvSpPr>
        <p:spPr>
          <a:xfrm>
            <a:off x="1497457" y="1249473"/>
            <a:ext cx="7045500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15"/>
              <a:buFont typeface="Arial"/>
              <a:buNone/>
            </a:pPr>
            <a:r>
              <a:rPr lang="en-US" sz="7515" b="1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Agenda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2"/>
          <p:cNvSpPr txBox="1"/>
          <p:nvPr/>
        </p:nvSpPr>
        <p:spPr>
          <a:xfrm>
            <a:off x="1497457" y="2879402"/>
            <a:ext cx="629400" cy="472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0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1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0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0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3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 b="0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4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2"/>
          <p:cNvSpPr txBox="1"/>
          <p:nvPr/>
        </p:nvSpPr>
        <p:spPr>
          <a:xfrm>
            <a:off x="2436271" y="2879400"/>
            <a:ext cx="6198000" cy="472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Business contex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DA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Model Comparis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99"/>
              <a:buFont typeface="Arial"/>
              <a:buNone/>
            </a:pPr>
            <a:r>
              <a:rPr lang="en-US" sz="4799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Recommend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The top genres of 2018 according to 1001tracklists">
            <a:extLst>
              <a:ext uri="{FF2B5EF4-FFF2-40B4-BE49-F238E27FC236}">
                <a16:creationId xmlns:a16="http://schemas.microsoft.com/office/drawing/2014/main" id="{99759667-F7ED-DB4D-AF9C-4A78E422E5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58401" y="1520927"/>
            <a:ext cx="6732916" cy="6404070"/>
          </a:xfrm>
          <a:prstGeom prst="rect">
            <a:avLst/>
          </a:prstGeom>
        </p:spPr>
      </p:pic>
    </p:spTree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g31abfd2b4e9_0_15"/>
          <p:cNvGrpSpPr/>
          <p:nvPr/>
        </p:nvGrpSpPr>
        <p:grpSpPr>
          <a:xfrm>
            <a:off x="3068401" y="-246000"/>
            <a:ext cx="9900148" cy="10532950"/>
            <a:chOff x="0" y="-28575"/>
            <a:chExt cx="812800" cy="1223467"/>
          </a:xfrm>
        </p:grpSpPr>
        <p:sp>
          <p:nvSpPr>
            <p:cNvPr id="174" name="Google Shape;174;g31abfd2b4e9_0_15"/>
            <p:cNvSpPr/>
            <p:nvPr/>
          </p:nvSpPr>
          <p:spPr>
            <a:xfrm>
              <a:off x="0" y="0"/>
              <a:ext cx="812800" cy="1194892"/>
            </a:xfrm>
            <a:custGeom>
              <a:avLst/>
              <a:gdLst/>
              <a:ahLst/>
              <a:cxnLst/>
              <a:rect l="l" t="t" r="r" b="b"/>
              <a:pathLst>
                <a:path w="812800" h="1194892" extrusionOk="0">
                  <a:moveTo>
                    <a:pt x="203200" y="0"/>
                  </a:moveTo>
                  <a:lnTo>
                    <a:pt x="812800" y="0"/>
                  </a:lnTo>
                  <a:lnTo>
                    <a:pt x="609600" y="1194892"/>
                  </a:lnTo>
                  <a:lnTo>
                    <a:pt x="0" y="1194892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Google Shape;175;g31abfd2b4e9_0_15"/>
            <p:cNvSpPr txBox="1"/>
            <p:nvPr/>
          </p:nvSpPr>
          <p:spPr>
            <a:xfrm>
              <a:off x="101600" y="-28575"/>
              <a:ext cx="609600" cy="12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15638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6" name="Google Shape;176;g31abfd2b4e9_0_15"/>
          <p:cNvSpPr txBox="1"/>
          <p:nvPr/>
        </p:nvSpPr>
        <p:spPr>
          <a:xfrm>
            <a:off x="280713" y="-57332"/>
            <a:ext cx="14016063" cy="1122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1997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389"/>
              <a:buFont typeface="Arial"/>
              <a:buNone/>
            </a:pPr>
            <a:r>
              <a:rPr lang="en-US" sz="4800" b="1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Transforming Music Investment through Analytics</a:t>
            </a:r>
            <a:endParaRPr sz="48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g31abfd2b4e9_0_15"/>
          <p:cNvSpPr txBox="1"/>
          <p:nvPr/>
        </p:nvSpPr>
        <p:spPr>
          <a:xfrm>
            <a:off x="1297519" y="1796895"/>
            <a:ext cx="5965651" cy="1019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203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357"/>
              <a:buFont typeface="Arial"/>
              <a:buNone/>
            </a:pPr>
            <a:r>
              <a:rPr lang="en-US" sz="4350">
                <a:solidFill>
                  <a:srgbClr val="23DC6D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rPr>
              <a:t>Business Context</a:t>
            </a:r>
            <a:endParaRPr lang="en-US" sz="4350" b="0" i="0" u="none" strike="noStrike" cap="none">
              <a:solidFill>
                <a:srgbClr val="000000"/>
              </a:solidFill>
              <a:latin typeface="League Spartan ExtraBold"/>
              <a:ea typeface="League Spartan ExtraBold"/>
              <a:cs typeface="League Spartan ExtraBold"/>
            </a:endParaRPr>
          </a:p>
        </p:txBody>
      </p:sp>
      <p:sp>
        <p:nvSpPr>
          <p:cNvPr id="178" name="Google Shape;178;g31abfd2b4e9_0_15"/>
          <p:cNvSpPr txBox="1"/>
          <p:nvPr/>
        </p:nvSpPr>
        <p:spPr>
          <a:xfrm>
            <a:off x="826586" y="2816085"/>
            <a:ext cx="10276610" cy="2154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Lato"/>
              <a:buChar char="●"/>
            </a:pPr>
            <a:r>
              <a:rPr lang="en-IN" sz="2800" b="1">
                <a:solidFill>
                  <a:srgbClr val="FFFFFF"/>
                </a:solidFill>
                <a:latin typeface="Lato"/>
                <a:ea typeface="Lato"/>
                <a:cs typeface="Lato"/>
              </a:rPr>
              <a:t>Current industry challenge</a:t>
            </a: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: Only 10% of new releases achieve significant commercial success.</a:t>
            </a: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 Average investment per track: $30,000.</a:t>
            </a: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Current ROI challenges in traditional selection methods - Need for data-driven decision support</a:t>
            </a:r>
            <a:endParaRPr sz="28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81" name="Google Shape;181;g31abfd2b4e9_0_15"/>
          <p:cNvSpPr txBox="1"/>
          <p:nvPr/>
        </p:nvSpPr>
        <p:spPr>
          <a:xfrm>
            <a:off x="1277863" y="5166610"/>
            <a:ext cx="5900620" cy="1019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203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357"/>
              <a:buFont typeface="Arial"/>
              <a:buNone/>
            </a:pPr>
            <a:r>
              <a:rPr lang="en-US" sz="4357">
                <a:solidFill>
                  <a:srgbClr val="23DC6D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rPr>
              <a:t>Project</a:t>
            </a:r>
            <a:r>
              <a:rPr lang="en-US" sz="4357" b="0" i="0" u="none" strike="noStrike" cap="none">
                <a:solidFill>
                  <a:srgbClr val="23DC6D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rPr>
              <a:t> Objective</a:t>
            </a:r>
            <a:endParaRPr sz="1400" b="0" i="0" u="none" strike="noStrike" cap="none">
              <a:solidFill>
                <a:srgbClr val="000000"/>
              </a:solidFill>
              <a:latin typeface="League Spartan ExtraBold"/>
              <a:ea typeface="League Spartan ExtraBold"/>
              <a:cs typeface="League Spartan ExtraBold"/>
              <a:sym typeface="League Spartan ExtraBold"/>
            </a:endParaRPr>
          </a:p>
        </p:txBody>
      </p:sp>
      <p:sp>
        <p:nvSpPr>
          <p:cNvPr id="182" name="Google Shape;182;g31abfd2b4e9_0_15"/>
          <p:cNvSpPr txBox="1"/>
          <p:nvPr/>
        </p:nvSpPr>
        <p:spPr>
          <a:xfrm>
            <a:off x="950043" y="6381889"/>
            <a:ext cx="9457491" cy="3016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457200" lvl="0" indent="-372999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74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Market Analysis: Identify trends and patterns in successful music </a:t>
            </a:r>
          </a:p>
          <a:p>
            <a:pPr marL="457200" lvl="0" indent="-372999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74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Success Factors: Determine key characteristics of hit songs </a:t>
            </a:r>
          </a:p>
          <a:p>
            <a:pPr marL="457200" lvl="0" indent="-372999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74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Predictive </a:t>
            </a:r>
            <a:r>
              <a:rPr lang="en-IN" sz="2800" err="1">
                <a:solidFill>
                  <a:srgbClr val="FFFFFF"/>
                </a:solidFill>
                <a:latin typeface="Lato"/>
                <a:ea typeface="Lato"/>
                <a:cs typeface="Lato"/>
              </a:rPr>
              <a:t>Modeling</a:t>
            </a: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: Develop accurate success prediction model </a:t>
            </a:r>
          </a:p>
          <a:p>
            <a:pPr marL="457200" lvl="0" indent="-372745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74"/>
              <a:buFont typeface="Lato"/>
              <a:buChar char="●"/>
            </a:pPr>
            <a:r>
              <a:rPr lang="en-IN" sz="2800">
                <a:solidFill>
                  <a:srgbClr val="FFFFFF"/>
                </a:solidFill>
                <a:latin typeface="Lato"/>
                <a:ea typeface="Lato"/>
                <a:cs typeface="Lato"/>
              </a:rPr>
              <a:t>ROI Optimization: Create investment decision framework</a:t>
            </a:r>
            <a:endParaRPr sz="2800">
              <a:solidFill>
                <a:srgbClr val="FFFFFF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83" name="Google Shape;183;g31abfd2b4e9_0_15"/>
          <p:cNvSpPr/>
          <p:nvPr/>
        </p:nvSpPr>
        <p:spPr>
          <a:xfrm rot="-10003604">
            <a:off x="11001637" y="6270701"/>
            <a:ext cx="2747113" cy="4122046"/>
          </a:xfrm>
          <a:custGeom>
            <a:avLst/>
            <a:gdLst/>
            <a:ahLst/>
            <a:cxnLst/>
            <a:rect l="l" t="t" r="r" b="b"/>
            <a:pathLst>
              <a:path w="2742284" h="4114800" extrusionOk="0">
                <a:moveTo>
                  <a:pt x="0" y="0"/>
                </a:moveTo>
                <a:lnTo>
                  <a:pt x="2742284" y="0"/>
                </a:lnTo>
                <a:lnTo>
                  <a:pt x="274228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r="-50039"/>
            </a:stretch>
          </a:blip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11A36B-8148-F275-B70D-F4F2E2CA38E8}"/>
              </a:ext>
            </a:extLst>
          </p:cNvPr>
          <p:cNvSpPr txBox="1"/>
          <p:nvPr/>
        </p:nvSpPr>
        <p:spPr>
          <a:xfrm>
            <a:off x="1740174" y="1177496"/>
            <a:ext cx="108498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Bridging the gap between Art and Scienc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060DEF-A29D-C9E0-368E-323194C16527}"/>
              </a:ext>
            </a:extLst>
          </p:cNvPr>
          <p:cNvGrpSpPr/>
          <p:nvPr/>
        </p:nvGrpSpPr>
        <p:grpSpPr>
          <a:xfrm rot="5400000">
            <a:off x="11469576" y="4105374"/>
            <a:ext cx="8832894" cy="2122472"/>
            <a:chOff x="0" y="3929193"/>
            <a:chExt cx="12188536" cy="2928807"/>
          </a:xfrm>
          <a:gradFill>
            <a:gsLst>
              <a:gs pos="0">
                <a:schemeClr val="accent1"/>
              </a:gs>
              <a:gs pos="60000">
                <a:schemeClr val="accent5"/>
              </a:gs>
              <a:gs pos="45000">
                <a:schemeClr val="accent4"/>
              </a:gs>
              <a:gs pos="30000">
                <a:schemeClr val="accent3"/>
              </a:gs>
              <a:gs pos="15000">
                <a:schemeClr val="accent2"/>
              </a:gs>
              <a:gs pos="99000">
                <a:schemeClr val="tx2"/>
              </a:gs>
              <a:gs pos="79000">
                <a:schemeClr val="accent6"/>
              </a:gs>
            </a:gsLst>
            <a:lin ang="0" scaled="1"/>
          </a:gradFill>
        </p:grpSpPr>
        <p:sp>
          <p:nvSpPr>
            <p:cNvPr id="4" name="Rectangle 206">
              <a:extLst>
                <a:ext uri="{FF2B5EF4-FFF2-40B4-BE49-F238E27FC236}">
                  <a16:creationId xmlns:a16="http://schemas.microsoft.com/office/drawing/2014/main" id="{5B13AD50-32FC-E118-19D2-CEABFA471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Rectangle 207">
              <a:extLst>
                <a:ext uri="{FF2B5EF4-FFF2-40B4-BE49-F238E27FC236}">
                  <a16:creationId xmlns:a16="http://schemas.microsoft.com/office/drawing/2014/main" id="{8542318D-1EC8-7B87-7A99-CAEA3C24D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" name="Rectangle 208">
              <a:extLst>
                <a:ext uri="{FF2B5EF4-FFF2-40B4-BE49-F238E27FC236}">
                  <a16:creationId xmlns:a16="http://schemas.microsoft.com/office/drawing/2014/main" id="{083A7FC8-6D6F-DF23-4E09-274CDC337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" name="Rectangle 209">
              <a:extLst>
                <a:ext uri="{FF2B5EF4-FFF2-40B4-BE49-F238E27FC236}">
                  <a16:creationId xmlns:a16="http://schemas.microsoft.com/office/drawing/2014/main" id="{09669324-A849-93B8-C1AC-8B533A75A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Rectangle 210">
              <a:extLst>
                <a:ext uri="{FF2B5EF4-FFF2-40B4-BE49-F238E27FC236}">
                  <a16:creationId xmlns:a16="http://schemas.microsoft.com/office/drawing/2014/main" id="{DB14A946-49E0-1FD3-6D43-330080D55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531735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Rectangle 211">
              <a:extLst>
                <a:ext uri="{FF2B5EF4-FFF2-40B4-BE49-F238E27FC236}">
                  <a16:creationId xmlns:a16="http://schemas.microsoft.com/office/drawing/2014/main" id="{D52B3264-D9E8-EEB7-DBAB-6F98DC2E7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5114057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Rectangle 212">
              <a:extLst>
                <a:ext uri="{FF2B5EF4-FFF2-40B4-BE49-F238E27FC236}">
                  <a16:creationId xmlns:a16="http://schemas.microsoft.com/office/drawing/2014/main" id="{D06377A2-A253-57DA-4DA8-B7E862E22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4918698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Rectangle 213">
              <a:extLst>
                <a:ext uri="{FF2B5EF4-FFF2-40B4-BE49-F238E27FC236}">
                  <a16:creationId xmlns:a16="http://schemas.microsoft.com/office/drawing/2014/main" id="{14A96F9A-14B1-54C5-8F93-5F0295E093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4716985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Rectangle 214">
              <a:extLst>
                <a:ext uri="{FF2B5EF4-FFF2-40B4-BE49-F238E27FC236}">
                  <a16:creationId xmlns:a16="http://schemas.microsoft.com/office/drawing/2014/main" id="{E9C77718-589D-1321-3840-C23F07502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4521626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Rectangle 215">
              <a:extLst>
                <a:ext uri="{FF2B5EF4-FFF2-40B4-BE49-F238E27FC236}">
                  <a16:creationId xmlns:a16="http://schemas.microsoft.com/office/drawing/2014/main" id="{29AD9E2C-653B-C879-0E4D-E08335D457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4326265"/>
              <a:ext cx="354189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Rectangle 216">
              <a:extLst>
                <a:ext uri="{FF2B5EF4-FFF2-40B4-BE49-F238E27FC236}">
                  <a16:creationId xmlns:a16="http://schemas.microsoft.com/office/drawing/2014/main" id="{6C2F14EE-CB51-AC83-18C5-F78A1A2F5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4124553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Rectangle 217">
              <a:extLst>
                <a:ext uri="{FF2B5EF4-FFF2-40B4-BE49-F238E27FC236}">
                  <a16:creationId xmlns:a16="http://schemas.microsoft.com/office/drawing/2014/main" id="{30D53633-1D04-8187-84A0-B32BDEE0C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Rectangle 218">
              <a:extLst>
                <a:ext uri="{FF2B5EF4-FFF2-40B4-BE49-F238E27FC236}">
                  <a16:creationId xmlns:a16="http://schemas.microsoft.com/office/drawing/2014/main" id="{AF5E1AAF-D17C-DA94-BBF0-03B49723A8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Rectangle 219">
              <a:extLst>
                <a:ext uri="{FF2B5EF4-FFF2-40B4-BE49-F238E27FC236}">
                  <a16:creationId xmlns:a16="http://schemas.microsoft.com/office/drawing/2014/main" id="{C637BBC9-5491-D63A-5067-CE18575A9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Rectangle 220">
              <a:extLst>
                <a:ext uri="{FF2B5EF4-FFF2-40B4-BE49-F238E27FC236}">
                  <a16:creationId xmlns:a16="http://schemas.microsoft.com/office/drawing/2014/main" id="{FB444AD9-BCAA-09C8-9D89-E65340D088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Rectangle 221">
              <a:extLst>
                <a:ext uri="{FF2B5EF4-FFF2-40B4-BE49-F238E27FC236}">
                  <a16:creationId xmlns:a16="http://schemas.microsoft.com/office/drawing/2014/main" id="{2005921C-C408-2BA7-FD03-3E3FCEF53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Rectangle 222">
              <a:extLst>
                <a:ext uri="{FF2B5EF4-FFF2-40B4-BE49-F238E27FC236}">
                  <a16:creationId xmlns:a16="http://schemas.microsoft.com/office/drawing/2014/main" id="{6DCAF88E-6D46-F9DC-B250-C4304D2DF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Rectangle 223">
              <a:extLst>
                <a:ext uri="{FF2B5EF4-FFF2-40B4-BE49-F238E27FC236}">
                  <a16:creationId xmlns:a16="http://schemas.microsoft.com/office/drawing/2014/main" id="{15CC33A4-AAA3-1911-656D-F3BE5434AE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Rectangle 224">
              <a:extLst>
                <a:ext uri="{FF2B5EF4-FFF2-40B4-BE49-F238E27FC236}">
                  <a16:creationId xmlns:a16="http://schemas.microsoft.com/office/drawing/2014/main" id="{5E3B7CDC-C958-EEF0-55EA-74CE0A7F52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9287" y="531735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Rectangle 225">
              <a:extLst>
                <a:ext uri="{FF2B5EF4-FFF2-40B4-BE49-F238E27FC236}">
                  <a16:creationId xmlns:a16="http://schemas.microsoft.com/office/drawing/2014/main" id="{9784A280-6043-5B81-5C24-8656F1127C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Rectangle 226">
              <a:extLst>
                <a:ext uri="{FF2B5EF4-FFF2-40B4-BE49-F238E27FC236}">
                  <a16:creationId xmlns:a16="http://schemas.microsoft.com/office/drawing/2014/main" id="{D20D3B04-026C-8A89-AF7C-2A6A1D317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Rectangle 227">
              <a:extLst>
                <a:ext uri="{FF2B5EF4-FFF2-40B4-BE49-F238E27FC236}">
                  <a16:creationId xmlns:a16="http://schemas.microsoft.com/office/drawing/2014/main" id="{5954B8CD-E64F-D569-7795-4FE2BD87B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Rectangle 228">
              <a:extLst>
                <a:ext uri="{FF2B5EF4-FFF2-40B4-BE49-F238E27FC236}">
                  <a16:creationId xmlns:a16="http://schemas.microsoft.com/office/drawing/2014/main" id="{21507B9E-1392-7B79-0F94-7402FD47A9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Rectangle 229">
              <a:extLst>
                <a:ext uri="{FF2B5EF4-FFF2-40B4-BE49-F238E27FC236}">
                  <a16:creationId xmlns:a16="http://schemas.microsoft.com/office/drawing/2014/main" id="{02B18AB2-1305-AFD2-B7C8-667686349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Rectangle 230">
              <a:extLst>
                <a:ext uri="{FF2B5EF4-FFF2-40B4-BE49-F238E27FC236}">
                  <a16:creationId xmlns:a16="http://schemas.microsoft.com/office/drawing/2014/main" id="{966811D8-2EAD-FBFB-17ED-636014251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20832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Rectangle 231">
              <a:extLst>
                <a:ext uri="{FF2B5EF4-FFF2-40B4-BE49-F238E27FC236}">
                  <a16:creationId xmlns:a16="http://schemas.microsoft.com/office/drawing/2014/main" id="{52A82819-24BE-DA55-D92B-50492A409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Rectangle 232">
              <a:extLst>
                <a:ext uri="{FF2B5EF4-FFF2-40B4-BE49-F238E27FC236}">
                  <a16:creationId xmlns:a16="http://schemas.microsoft.com/office/drawing/2014/main" id="{A7B6485A-7942-4B4F-B219-54207E487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Rectangle 233">
              <a:extLst>
                <a:ext uri="{FF2B5EF4-FFF2-40B4-BE49-F238E27FC236}">
                  <a16:creationId xmlns:a16="http://schemas.microsoft.com/office/drawing/2014/main" id="{0EA7E59D-5367-D292-FA73-AD068AB94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Rectangle 234">
              <a:extLst>
                <a:ext uri="{FF2B5EF4-FFF2-40B4-BE49-F238E27FC236}">
                  <a16:creationId xmlns:a16="http://schemas.microsoft.com/office/drawing/2014/main" id="{69809617-FB34-DC6C-4FC6-AAB480A07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Rectangle 235">
              <a:extLst>
                <a:ext uri="{FF2B5EF4-FFF2-40B4-BE49-F238E27FC236}">
                  <a16:creationId xmlns:a16="http://schemas.microsoft.com/office/drawing/2014/main" id="{CDFB63CD-6492-D58D-5838-68ADCA4775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Rectangle 236">
              <a:extLst>
                <a:ext uri="{FF2B5EF4-FFF2-40B4-BE49-F238E27FC236}">
                  <a16:creationId xmlns:a16="http://schemas.microsoft.com/office/drawing/2014/main" id="{0B5C7223-329C-782E-66CE-D301CBCB8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Rectangle 237">
              <a:extLst>
                <a:ext uri="{FF2B5EF4-FFF2-40B4-BE49-F238E27FC236}">
                  <a16:creationId xmlns:a16="http://schemas.microsoft.com/office/drawing/2014/main" id="{1565126B-1D3D-96E3-A27B-A612946A6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Rectangle 238">
              <a:extLst>
                <a:ext uri="{FF2B5EF4-FFF2-40B4-BE49-F238E27FC236}">
                  <a16:creationId xmlns:a16="http://schemas.microsoft.com/office/drawing/2014/main" id="{5BD2A2A1-D583-11D7-2A68-D9CEACBF0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6023" y="531735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Rectangle 239">
              <a:extLst>
                <a:ext uri="{FF2B5EF4-FFF2-40B4-BE49-F238E27FC236}">
                  <a16:creationId xmlns:a16="http://schemas.microsoft.com/office/drawing/2014/main" id="{7F0CCBDE-DAFD-AC3A-07C9-90903299E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Rectangle 240">
              <a:extLst>
                <a:ext uri="{FF2B5EF4-FFF2-40B4-BE49-F238E27FC236}">
                  <a16:creationId xmlns:a16="http://schemas.microsoft.com/office/drawing/2014/main" id="{41C2AADB-DE7A-1CA0-BB6A-50D10251C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Rectangle 241">
              <a:extLst>
                <a:ext uri="{FF2B5EF4-FFF2-40B4-BE49-F238E27FC236}">
                  <a16:creationId xmlns:a16="http://schemas.microsoft.com/office/drawing/2014/main" id="{FD023965-0211-84DD-EF55-6E641C9AD6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Rectangle 242">
              <a:extLst>
                <a:ext uri="{FF2B5EF4-FFF2-40B4-BE49-F238E27FC236}">
                  <a16:creationId xmlns:a16="http://schemas.microsoft.com/office/drawing/2014/main" id="{AEC0EC25-A5B1-49E9-DA1E-F94E39A8D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Rectangle 243">
              <a:extLst>
                <a:ext uri="{FF2B5EF4-FFF2-40B4-BE49-F238E27FC236}">
                  <a16:creationId xmlns:a16="http://schemas.microsoft.com/office/drawing/2014/main" id="{6908DC75-42A0-AE03-931F-33B4A4A2B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Rectangle 244">
              <a:extLst>
                <a:ext uri="{FF2B5EF4-FFF2-40B4-BE49-F238E27FC236}">
                  <a16:creationId xmlns:a16="http://schemas.microsoft.com/office/drawing/2014/main" id="{ECBEBF46-9CEE-42BF-BB82-89C8757BF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Rectangle 245">
              <a:extLst>
                <a:ext uri="{FF2B5EF4-FFF2-40B4-BE49-F238E27FC236}">
                  <a16:creationId xmlns:a16="http://schemas.microsoft.com/office/drawing/2014/main" id="{CFE23E6F-E20B-3D50-4BA1-6F78EC154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Rectangle 246">
              <a:extLst>
                <a:ext uri="{FF2B5EF4-FFF2-40B4-BE49-F238E27FC236}">
                  <a16:creationId xmlns:a16="http://schemas.microsoft.com/office/drawing/2014/main" id="{A5EC4F5A-C168-3CD6-329B-029C839B17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Rectangle 247">
              <a:extLst>
                <a:ext uri="{FF2B5EF4-FFF2-40B4-BE49-F238E27FC236}">
                  <a16:creationId xmlns:a16="http://schemas.microsoft.com/office/drawing/2014/main" id="{768B3A54-F452-FFB3-87B0-1E676B80D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Rectangle 248">
              <a:extLst>
                <a:ext uri="{FF2B5EF4-FFF2-40B4-BE49-F238E27FC236}">
                  <a16:creationId xmlns:a16="http://schemas.microsoft.com/office/drawing/2014/main" id="{88FDB256-3095-F49B-2975-33A80BE591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Rectangle 249">
              <a:extLst>
                <a:ext uri="{FF2B5EF4-FFF2-40B4-BE49-F238E27FC236}">
                  <a16:creationId xmlns:a16="http://schemas.microsoft.com/office/drawing/2014/main" id="{D8E72671-036C-7C52-88A8-A7F55314F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7568" y="4716985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Rectangle 250">
              <a:extLst>
                <a:ext uri="{FF2B5EF4-FFF2-40B4-BE49-F238E27FC236}">
                  <a16:creationId xmlns:a16="http://schemas.microsoft.com/office/drawing/2014/main" id="{5C16EDBB-3D92-8C4E-26CD-E4F3A48C7E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Rectangle 251">
              <a:extLst>
                <a:ext uri="{FF2B5EF4-FFF2-40B4-BE49-F238E27FC236}">
                  <a16:creationId xmlns:a16="http://schemas.microsoft.com/office/drawing/2014/main" id="{ADD80D78-F07D-E2FB-EC9C-088F52193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Rectangle 252">
              <a:extLst>
                <a:ext uri="{FF2B5EF4-FFF2-40B4-BE49-F238E27FC236}">
                  <a16:creationId xmlns:a16="http://schemas.microsoft.com/office/drawing/2014/main" id="{7C92EB17-F126-873B-36B8-2655DD2DFE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Rectangle 253">
              <a:extLst>
                <a:ext uri="{FF2B5EF4-FFF2-40B4-BE49-F238E27FC236}">
                  <a16:creationId xmlns:a16="http://schemas.microsoft.com/office/drawing/2014/main" id="{48FB0B14-5120-828C-462C-FFFF68B55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Rectangle 254">
              <a:extLst>
                <a:ext uri="{FF2B5EF4-FFF2-40B4-BE49-F238E27FC236}">
                  <a16:creationId xmlns:a16="http://schemas.microsoft.com/office/drawing/2014/main" id="{1F0B6A96-7AB8-4EF9-77F1-450DAF5F3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Rectangle 255">
              <a:extLst>
                <a:ext uri="{FF2B5EF4-FFF2-40B4-BE49-F238E27FC236}">
                  <a16:creationId xmlns:a16="http://schemas.microsoft.com/office/drawing/2014/main" id="{96BAC405-FB51-9BD4-0A11-A854058F3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Rectangle 256">
              <a:extLst>
                <a:ext uri="{FF2B5EF4-FFF2-40B4-BE49-F238E27FC236}">
                  <a16:creationId xmlns:a16="http://schemas.microsoft.com/office/drawing/2014/main" id="{5A49855B-8E41-C612-F916-AE8FB641F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Rectangle 257">
              <a:extLst>
                <a:ext uri="{FF2B5EF4-FFF2-40B4-BE49-F238E27FC236}">
                  <a16:creationId xmlns:a16="http://schemas.microsoft.com/office/drawing/2014/main" id="{59692ACC-CB89-7758-56C4-4A6C239BE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Rectangle 258">
              <a:extLst>
                <a:ext uri="{FF2B5EF4-FFF2-40B4-BE49-F238E27FC236}">
                  <a16:creationId xmlns:a16="http://schemas.microsoft.com/office/drawing/2014/main" id="{20F92869-265F-C231-CB4C-61695D761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Rectangle 259">
              <a:extLst>
                <a:ext uri="{FF2B5EF4-FFF2-40B4-BE49-F238E27FC236}">
                  <a16:creationId xmlns:a16="http://schemas.microsoft.com/office/drawing/2014/main" id="{374791C1-A691-4F73-39E4-AD05539AB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Rectangle 260">
              <a:extLst>
                <a:ext uri="{FF2B5EF4-FFF2-40B4-BE49-F238E27FC236}">
                  <a16:creationId xmlns:a16="http://schemas.microsoft.com/office/drawing/2014/main" id="{DD962FE0-4903-1E6C-DDFB-7AA1AE246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4716985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Rectangle 261">
              <a:extLst>
                <a:ext uri="{FF2B5EF4-FFF2-40B4-BE49-F238E27FC236}">
                  <a16:creationId xmlns:a16="http://schemas.microsoft.com/office/drawing/2014/main" id="{7A717F63-A72E-94A2-391C-473A305C0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4521626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Rectangle 262">
              <a:extLst>
                <a:ext uri="{FF2B5EF4-FFF2-40B4-BE49-F238E27FC236}">
                  <a16:creationId xmlns:a16="http://schemas.microsoft.com/office/drawing/2014/main" id="{FA3611CD-60C6-4F79-E747-F1CD174E3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32759" y="4326265"/>
              <a:ext cx="355777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Rectangle 5">
              <a:extLst>
                <a:ext uri="{FF2B5EF4-FFF2-40B4-BE49-F238E27FC236}">
                  <a16:creationId xmlns:a16="http://schemas.microsoft.com/office/drawing/2014/main" id="{AD2079B2-9609-E3AD-E87E-D056B2AFA4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Rectangle 6">
              <a:extLst>
                <a:ext uri="{FF2B5EF4-FFF2-40B4-BE49-F238E27FC236}">
                  <a16:creationId xmlns:a16="http://schemas.microsoft.com/office/drawing/2014/main" id="{CFC8D6B0-06F4-77D4-2809-05049C55EE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Rectangle 7">
              <a:extLst>
                <a:ext uri="{FF2B5EF4-FFF2-40B4-BE49-F238E27FC236}">
                  <a16:creationId xmlns:a16="http://schemas.microsoft.com/office/drawing/2014/main" id="{1BD88C2D-6BAA-E3BF-884E-86586F0D9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Rectangle 8">
              <a:extLst>
                <a:ext uri="{FF2B5EF4-FFF2-40B4-BE49-F238E27FC236}">
                  <a16:creationId xmlns:a16="http://schemas.microsoft.com/office/drawing/2014/main" id="{3C9308E1-AE3C-C7C1-99D9-FB87D4448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Rectangle 9">
              <a:extLst>
                <a:ext uri="{FF2B5EF4-FFF2-40B4-BE49-F238E27FC236}">
                  <a16:creationId xmlns:a16="http://schemas.microsoft.com/office/drawing/2014/main" id="{2DE2C390-C98A-FBA6-781A-B07D698D8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Rectangle 10">
              <a:extLst>
                <a:ext uri="{FF2B5EF4-FFF2-40B4-BE49-F238E27FC236}">
                  <a16:creationId xmlns:a16="http://schemas.microsoft.com/office/drawing/2014/main" id="{AAA889AC-5A50-AADE-C8AE-FE08E97B3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Rectangle 11">
              <a:extLst>
                <a:ext uri="{FF2B5EF4-FFF2-40B4-BE49-F238E27FC236}">
                  <a16:creationId xmlns:a16="http://schemas.microsoft.com/office/drawing/2014/main" id="{B3636955-1454-6063-63A1-2D84550FA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Rectangle 12">
              <a:extLst>
                <a:ext uri="{FF2B5EF4-FFF2-40B4-BE49-F238E27FC236}">
                  <a16:creationId xmlns:a16="http://schemas.microsoft.com/office/drawing/2014/main" id="{89AC2299-C945-0761-1DCB-D6B19E598D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531735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Rectangle 13">
              <a:extLst>
                <a:ext uri="{FF2B5EF4-FFF2-40B4-BE49-F238E27FC236}">
                  <a16:creationId xmlns:a16="http://schemas.microsoft.com/office/drawing/2014/main" id="{A0C6BAF7-E655-7BD2-7813-557DC16C75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5114057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Rectangle 14">
              <a:extLst>
                <a:ext uri="{FF2B5EF4-FFF2-40B4-BE49-F238E27FC236}">
                  <a16:creationId xmlns:a16="http://schemas.microsoft.com/office/drawing/2014/main" id="{6C9230E7-7BBD-CA8A-ACAA-075154F96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918698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Rectangle 15">
              <a:extLst>
                <a:ext uri="{FF2B5EF4-FFF2-40B4-BE49-F238E27FC236}">
                  <a16:creationId xmlns:a16="http://schemas.microsoft.com/office/drawing/2014/main" id="{B34F6D3B-1029-6F8D-06FA-7810998B7B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716985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Rectangle 16">
              <a:extLst>
                <a:ext uri="{FF2B5EF4-FFF2-40B4-BE49-F238E27FC236}">
                  <a16:creationId xmlns:a16="http://schemas.microsoft.com/office/drawing/2014/main" id="{445588BE-8E2C-63B2-E8C7-F0D9E84EF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521626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Rectangle 17">
              <a:extLst>
                <a:ext uri="{FF2B5EF4-FFF2-40B4-BE49-F238E27FC236}">
                  <a16:creationId xmlns:a16="http://schemas.microsoft.com/office/drawing/2014/main" id="{9DD0F715-4F76-10DC-3846-C0B3602F2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326265"/>
              <a:ext cx="354189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Rectangle 18">
              <a:extLst>
                <a:ext uri="{FF2B5EF4-FFF2-40B4-BE49-F238E27FC236}">
                  <a16:creationId xmlns:a16="http://schemas.microsoft.com/office/drawing/2014/main" id="{7AE13E06-D4D4-3365-38DB-BBE6DA662B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Rectangle 19">
              <a:extLst>
                <a:ext uri="{FF2B5EF4-FFF2-40B4-BE49-F238E27FC236}">
                  <a16:creationId xmlns:a16="http://schemas.microsoft.com/office/drawing/2014/main" id="{D0595041-D1E8-3382-4025-FAE68668B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Rectangle 20">
              <a:extLst>
                <a:ext uri="{FF2B5EF4-FFF2-40B4-BE49-F238E27FC236}">
                  <a16:creationId xmlns:a16="http://schemas.microsoft.com/office/drawing/2014/main" id="{F545D0C7-37F7-FD01-4B4E-0779BF20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Rectangle 21">
              <a:extLst>
                <a:ext uri="{FF2B5EF4-FFF2-40B4-BE49-F238E27FC236}">
                  <a16:creationId xmlns:a16="http://schemas.microsoft.com/office/drawing/2014/main" id="{EA347168-5E75-7AD5-69E6-8763D0E98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Rectangle 22">
              <a:extLst>
                <a:ext uri="{FF2B5EF4-FFF2-40B4-BE49-F238E27FC236}">
                  <a16:creationId xmlns:a16="http://schemas.microsoft.com/office/drawing/2014/main" id="{52D1F88A-A22C-C1DD-5E08-2C8BC544F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Rectangle 23">
              <a:extLst>
                <a:ext uri="{FF2B5EF4-FFF2-40B4-BE49-F238E27FC236}">
                  <a16:creationId xmlns:a16="http://schemas.microsoft.com/office/drawing/2014/main" id="{4248E847-3C4B-02F4-D859-E53E2519B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Rectangle 24">
              <a:extLst>
                <a:ext uri="{FF2B5EF4-FFF2-40B4-BE49-F238E27FC236}">
                  <a16:creationId xmlns:a16="http://schemas.microsoft.com/office/drawing/2014/main" id="{A46E5A70-4BEB-27A5-1F77-2BC510756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Rectangle 25">
              <a:extLst>
                <a:ext uri="{FF2B5EF4-FFF2-40B4-BE49-F238E27FC236}">
                  <a16:creationId xmlns:a16="http://schemas.microsoft.com/office/drawing/2014/main" id="{759423DD-7C18-C883-5744-97922D55FF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Rectangle 26">
              <a:extLst>
                <a:ext uri="{FF2B5EF4-FFF2-40B4-BE49-F238E27FC236}">
                  <a16:creationId xmlns:a16="http://schemas.microsoft.com/office/drawing/2014/main" id="{308F3D05-9DA7-604C-3AA7-E12BACAF5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Rectangle 27">
              <a:extLst>
                <a:ext uri="{FF2B5EF4-FFF2-40B4-BE49-F238E27FC236}">
                  <a16:creationId xmlns:a16="http://schemas.microsoft.com/office/drawing/2014/main" id="{EB1A18A7-4981-4797-604B-FB93B3E81F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Rectangle 28">
              <a:extLst>
                <a:ext uri="{FF2B5EF4-FFF2-40B4-BE49-F238E27FC236}">
                  <a16:creationId xmlns:a16="http://schemas.microsoft.com/office/drawing/2014/main" id="{DAB0C7F3-A41E-33DE-B46A-362A40AD7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4716985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Rectangle 29">
              <a:extLst>
                <a:ext uri="{FF2B5EF4-FFF2-40B4-BE49-F238E27FC236}">
                  <a16:creationId xmlns:a16="http://schemas.microsoft.com/office/drawing/2014/main" id="{68E14E97-0FD1-BD1D-2F3B-F440F7F95E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4521626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Rectangle 30">
              <a:extLst>
                <a:ext uri="{FF2B5EF4-FFF2-40B4-BE49-F238E27FC236}">
                  <a16:creationId xmlns:a16="http://schemas.microsoft.com/office/drawing/2014/main" id="{782256D1-2C38-AFCE-C4BA-027734629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4326265"/>
              <a:ext cx="355777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Rectangle 31">
              <a:extLst>
                <a:ext uri="{FF2B5EF4-FFF2-40B4-BE49-F238E27FC236}">
                  <a16:creationId xmlns:a16="http://schemas.microsoft.com/office/drawing/2014/main" id="{A925208B-B793-5E36-0CFE-396CB60395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4124553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Rectangle 32">
              <a:extLst>
                <a:ext uri="{FF2B5EF4-FFF2-40B4-BE49-F238E27FC236}">
                  <a16:creationId xmlns:a16="http://schemas.microsoft.com/office/drawing/2014/main" id="{E1E7735A-CA24-7D1A-4555-90D62ECFB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91" y="3929193"/>
              <a:ext cx="355777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Rectangle 33">
              <a:extLst>
                <a:ext uri="{FF2B5EF4-FFF2-40B4-BE49-F238E27FC236}">
                  <a16:creationId xmlns:a16="http://schemas.microsoft.com/office/drawing/2014/main" id="{4F0B6230-F3BC-8BCF-63EF-F972897BF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Rectangle 34">
              <a:extLst>
                <a:ext uri="{FF2B5EF4-FFF2-40B4-BE49-F238E27FC236}">
                  <a16:creationId xmlns:a16="http://schemas.microsoft.com/office/drawing/2014/main" id="{16B36936-A06F-31E7-03A6-DCB1C5C1F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Rectangle 35">
              <a:extLst>
                <a:ext uri="{FF2B5EF4-FFF2-40B4-BE49-F238E27FC236}">
                  <a16:creationId xmlns:a16="http://schemas.microsoft.com/office/drawing/2014/main" id="{8C0C74D3-E875-661A-0A8B-AE6DF062A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Rectangle 36">
              <a:extLst>
                <a:ext uri="{FF2B5EF4-FFF2-40B4-BE49-F238E27FC236}">
                  <a16:creationId xmlns:a16="http://schemas.microsoft.com/office/drawing/2014/main" id="{570487E6-56A3-EA60-6FFD-84B11CE19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Rectangle 37">
              <a:extLst>
                <a:ext uri="{FF2B5EF4-FFF2-40B4-BE49-F238E27FC236}">
                  <a16:creationId xmlns:a16="http://schemas.microsoft.com/office/drawing/2014/main" id="{0E9A21EE-C190-EEE5-CC45-03B48ED17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Rectangle 38">
              <a:extLst>
                <a:ext uri="{FF2B5EF4-FFF2-40B4-BE49-F238E27FC236}">
                  <a16:creationId xmlns:a16="http://schemas.microsoft.com/office/drawing/2014/main" id="{60B58514-C600-2510-D5B7-B51371E33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Rectangle 39">
              <a:extLst>
                <a:ext uri="{FF2B5EF4-FFF2-40B4-BE49-F238E27FC236}">
                  <a16:creationId xmlns:a16="http://schemas.microsoft.com/office/drawing/2014/main" id="{B6DEBD15-9A33-3719-64A0-F3DB5FA2F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Rectangle 40">
              <a:extLst>
                <a:ext uri="{FF2B5EF4-FFF2-40B4-BE49-F238E27FC236}">
                  <a16:creationId xmlns:a16="http://schemas.microsoft.com/office/drawing/2014/main" id="{983F2477-6EAE-29D1-EB27-D73219D1B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Rectangle 41">
              <a:extLst>
                <a:ext uri="{FF2B5EF4-FFF2-40B4-BE49-F238E27FC236}">
                  <a16:creationId xmlns:a16="http://schemas.microsoft.com/office/drawing/2014/main" id="{7C915A84-5896-6150-F33E-E1AB4979F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Rectangle 42">
              <a:extLst>
                <a:ext uri="{FF2B5EF4-FFF2-40B4-BE49-F238E27FC236}">
                  <a16:creationId xmlns:a16="http://schemas.microsoft.com/office/drawing/2014/main" id="{67513BD2-6D60-2A0A-2AFB-F5AB05350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736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Rectangle 43">
              <a:extLst>
                <a:ext uri="{FF2B5EF4-FFF2-40B4-BE49-F238E27FC236}">
                  <a16:creationId xmlns:a16="http://schemas.microsoft.com/office/drawing/2014/main" id="{7974A3C9-82D3-5C3B-8640-60C35C863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927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Rectangle 44">
              <a:extLst>
                <a:ext uri="{FF2B5EF4-FFF2-40B4-BE49-F238E27FC236}">
                  <a16:creationId xmlns:a16="http://schemas.microsoft.com/office/drawing/2014/main" id="{0B3D6F85-89F5-1B59-DD67-6B89360A4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927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Rectangle 45">
              <a:extLst>
                <a:ext uri="{FF2B5EF4-FFF2-40B4-BE49-F238E27FC236}">
                  <a16:creationId xmlns:a16="http://schemas.microsoft.com/office/drawing/2014/main" id="{E8FFF12B-4132-C44E-EFEC-9FAD73F004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927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Rectangle 46">
              <a:extLst>
                <a:ext uri="{FF2B5EF4-FFF2-40B4-BE49-F238E27FC236}">
                  <a16:creationId xmlns:a16="http://schemas.microsoft.com/office/drawing/2014/main" id="{59FCAE9F-53F7-E998-3CF1-46142731A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927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Rectangle 47">
              <a:extLst>
                <a:ext uri="{FF2B5EF4-FFF2-40B4-BE49-F238E27FC236}">
                  <a16:creationId xmlns:a16="http://schemas.microsoft.com/office/drawing/2014/main" id="{1E819580-4566-8BF4-E608-5BFAD9826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927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Rectangle 48">
              <a:extLst>
                <a:ext uri="{FF2B5EF4-FFF2-40B4-BE49-F238E27FC236}">
                  <a16:creationId xmlns:a16="http://schemas.microsoft.com/office/drawing/2014/main" id="{62D00F01-1370-C0FC-0F65-AF1787FF5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670393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49">
              <a:extLst>
                <a:ext uri="{FF2B5EF4-FFF2-40B4-BE49-F238E27FC236}">
                  <a16:creationId xmlns:a16="http://schemas.microsoft.com/office/drawing/2014/main" id="{71386E40-3547-70B5-239C-807135BE8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650857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50">
              <a:extLst>
                <a:ext uri="{FF2B5EF4-FFF2-40B4-BE49-F238E27FC236}">
                  <a16:creationId xmlns:a16="http://schemas.microsoft.com/office/drawing/2014/main" id="{7A13398F-7D07-3DB1-4562-4311EDD79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630686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Rectangle 51">
              <a:extLst>
                <a:ext uri="{FF2B5EF4-FFF2-40B4-BE49-F238E27FC236}">
                  <a16:creationId xmlns:a16="http://schemas.microsoft.com/office/drawing/2014/main" id="{4943B1BF-1184-3BB8-39B8-9630C8E5D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611150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Rectangle 52">
              <a:extLst>
                <a:ext uri="{FF2B5EF4-FFF2-40B4-BE49-F238E27FC236}">
                  <a16:creationId xmlns:a16="http://schemas.microsoft.com/office/drawing/2014/main" id="{7CD077C6-F84B-27E9-88AA-81EA34CD4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5909791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Rectangle 53">
              <a:extLst>
                <a:ext uri="{FF2B5EF4-FFF2-40B4-BE49-F238E27FC236}">
                  <a16:creationId xmlns:a16="http://schemas.microsoft.com/office/drawing/2014/main" id="{35B8B3F6-48CC-B58F-A94B-D4E9FC6EA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5061" y="5714430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Rectangle 54">
              <a:extLst>
                <a:ext uri="{FF2B5EF4-FFF2-40B4-BE49-F238E27FC236}">
                  <a16:creationId xmlns:a16="http://schemas.microsoft.com/office/drawing/2014/main" id="{DB11A404-85DB-8E20-537B-90BCD6C01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Rectangle 55">
              <a:extLst>
                <a:ext uri="{FF2B5EF4-FFF2-40B4-BE49-F238E27FC236}">
                  <a16:creationId xmlns:a16="http://schemas.microsoft.com/office/drawing/2014/main" id="{2CD3EAE6-6A49-B0BF-DA9D-BE75A98FF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Rectangle 56">
              <a:extLst>
                <a:ext uri="{FF2B5EF4-FFF2-40B4-BE49-F238E27FC236}">
                  <a16:creationId xmlns:a16="http://schemas.microsoft.com/office/drawing/2014/main" id="{63CFEF5E-A4C6-33E8-9044-B468692AEC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Rectangle 57">
              <a:extLst>
                <a:ext uri="{FF2B5EF4-FFF2-40B4-BE49-F238E27FC236}">
                  <a16:creationId xmlns:a16="http://schemas.microsoft.com/office/drawing/2014/main" id="{40B4C7F7-F7A1-6A1B-A31D-CD7AF0A49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58">
              <a:extLst>
                <a:ext uri="{FF2B5EF4-FFF2-40B4-BE49-F238E27FC236}">
                  <a16:creationId xmlns:a16="http://schemas.microsoft.com/office/drawing/2014/main" id="{573F293C-DA57-529C-8A94-E86F398E5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59">
              <a:extLst>
                <a:ext uri="{FF2B5EF4-FFF2-40B4-BE49-F238E27FC236}">
                  <a16:creationId xmlns:a16="http://schemas.microsoft.com/office/drawing/2014/main" id="{94FD93A6-3CA1-9070-556D-732E3E55E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Rectangle 60">
              <a:extLst>
                <a:ext uri="{FF2B5EF4-FFF2-40B4-BE49-F238E27FC236}">
                  <a16:creationId xmlns:a16="http://schemas.microsoft.com/office/drawing/2014/main" id="{14B17E67-774A-14B3-EB77-78FEFCE40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0252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Rectangle 61">
              <a:extLst>
                <a:ext uri="{FF2B5EF4-FFF2-40B4-BE49-F238E27FC236}">
                  <a16:creationId xmlns:a16="http://schemas.microsoft.com/office/drawing/2014/main" id="{6F13D433-2EE6-6A3E-0034-DBF9E6A3C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670393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Rectangle 62">
              <a:extLst>
                <a:ext uri="{FF2B5EF4-FFF2-40B4-BE49-F238E27FC236}">
                  <a16:creationId xmlns:a16="http://schemas.microsoft.com/office/drawing/2014/main" id="{6F928876-54E1-E415-7B2C-BC9A4E560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650857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Rectangle 63">
              <a:extLst>
                <a:ext uri="{FF2B5EF4-FFF2-40B4-BE49-F238E27FC236}">
                  <a16:creationId xmlns:a16="http://schemas.microsoft.com/office/drawing/2014/main" id="{67B558C1-D68B-B2B6-4CBD-5F664E5A2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630686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Rectangle 64">
              <a:extLst>
                <a:ext uri="{FF2B5EF4-FFF2-40B4-BE49-F238E27FC236}">
                  <a16:creationId xmlns:a16="http://schemas.microsoft.com/office/drawing/2014/main" id="{BD0F3BF4-9501-B7D0-3AAC-C46DEDBF6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611150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Rectangle 65">
              <a:extLst>
                <a:ext uri="{FF2B5EF4-FFF2-40B4-BE49-F238E27FC236}">
                  <a16:creationId xmlns:a16="http://schemas.microsoft.com/office/drawing/2014/main" id="{AFA5FEB9-BA3B-C2BB-4DB1-B12DF6847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5909791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Rectangle 66">
              <a:extLst>
                <a:ext uri="{FF2B5EF4-FFF2-40B4-BE49-F238E27FC236}">
                  <a16:creationId xmlns:a16="http://schemas.microsoft.com/office/drawing/2014/main" id="{F25FBF5C-36F4-C22A-A8CC-D3E6A7ECC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5714430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Rectangle 67">
              <a:extLst>
                <a:ext uri="{FF2B5EF4-FFF2-40B4-BE49-F238E27FC236}">
                  <a16:creationId xmlns:a16="http://schemas.microsoft.com/office/drawing/2014/main" id="{6063A655-E7D7-D18C-C56F-5FC5AD0BE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5512718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Rectangle 68">
              <a:extLst>
                <a:ext uri="{FF2B5EF4-FFF2-40B4-BE49-F238E27FC236}">
                  <a16:creationId xmlns:a16="http://schemas.microsoft.com/office/drawing/2014/main" id="{266A08C1-3154-DBBB-6D55-A348DAF74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5317358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Rectangle 69">
              <a:extLst>
                <a:ext uri="{FF2B5EF4-FFF2-40B4-BE49-F238E27FC236}">
                  <a16:creationId xmlns:a16="http://schemas.microsoft.com/office/drawing/2014/main" id="{9A6D85EB-CC78-63D4-C210-29F2C8E9F5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5114057"/>
              <a:ext cx="347836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Rectangle 70">
              <a:extLst>
                <a:ext uri="{FF2B5EF4-FFF2-40B4-BE49-F238E27FC236}">
                  <a16:creationId xmlns:a16="http://schemas.microsoft.com/office/drawing/2014/main" id="{53FECC47-4922-1F7D-7F99-6E3067043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797" y="4918698"/>
              <a:ext cx="347836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Rectangle 71">
              <a:extLst>
                <a:ext uri="{FF2B5EF4-FFF2-40B4-BE49-F238E27FC236}">
                  <a16:creationId xmlns:a16="http://schemas.microsoft.com/office/drawing/2014/main" id="{E6DC8769-431B-EC83-B6A1-DD4839DEF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Rectangle 72">
              <a:extLst>
                <a:ext uri="{FF2B5EF4-FFF2-40B4-BE49-F238E27FC236}">
                  <a16:creationId xmlns:a16="http://schemas.microsoft.com/office/drawing/2014/main" id="{BFA992AF-DCB1-D205-2DBA-41F1619F9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Rectangle 73">
              <a:extLst>
                <a:ext uri="{FF2B5EF4-FFF2-40B4-BE49-F238E27FC236}">
                  <a16:creationId xmlns:a16="http://schemas.microsoft.com/office/drawing/2014/main" id="{ED073EEA-BD2B-6862-26B5-46B52E299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Rectangle 74">
              <a:extLst>
                <a:ext uri="{FF2B5EF4-FFF2-40B4-BE49-F238E27FC236}">
                  <a16:creationId xmlns:a16="http://schemas.microsoft.com/office/drawing/2014/main" id="{73CF6503-2FC8-A836-326E-5CB2A511B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Rectangle 75">
              <a:extLst>
                <a:ext uri="{FF2B5EF4-FFF2-40B4-BE49-F238E27FC236}">
                  <a16:creationId xmlns:a16="http://schemas.microsoft.com/office/drawing/2014/main" id="{7482F3EF-47B4-1A8E-05C3-2B25D8ED2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Rectangle 76">
              <a:extLst>
                <a:ext uri="{FF2B5EF4-FFF2-40B4-BE49-F238E27FC236}">
                  <a16:creationId xmlns:a16="http://schemas.microsoft.com/office/drawing/2014/main" id="{EA432B02-1429-CD61-9B2C-0185DF65A7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Rectangle 77">
              <a:extLst>
                <a:ext uri="{FF2B5EF4-FFF2-40B4-BE49-F238E27FC236}">
                  <a16:creationId xmlns:a16="http://schemas.microsoft.com/office/drawing/2014/main" id="{7801811B-CE7F-3D33-B1D6-B321A9BE1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Rectangle 78">
              <a:extLst>
                <a:ext uri="{FF2B5EF4-FFF2-40B4-BE49-F238E27FC236}">
                  <a16:creationId xmlns:a16="http://schemas.microsoft.com/office/drawing/2014/main" id="{3CD65EAA-5A0D-3769-5DA5-C745A2997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Rectangle 79">
              <a:extLst>
                <a:ext uri="{FF2B5EF4-FFF2-40B4-BE49-F238E27FC236}">
                  <a16:creationId xmlns:a16="http://schemas.microsoft.com/office/drawing/2014/main" id="{EBA52E98-87A9-6FF7-E707-F224C21E2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988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Rectangle 80">
              <a:extLst>
                <a:ext uri="{FF2B5EF4-FFF2-40B4-BE49-F238E27FC236}">
                  <a16:creationId xmlns:a16="http://schemas.microsoft.com/office/drawing/2014/main" id="{F8610BD8-293B-5685-402E-BECD675AC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6703935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Rectangle 81">
              <a:extLst>
                <a:ext uri="{FF2B5EF4-FFF2-40B4-BE49-F238E27FC236}">
                  <a16:creationId xmlns:a16="http://schemas.microsoft.com/office/drawing/2014/main" id="{5BA103B0-A659-EEFF-5D35-B7633740C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6508575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Rectangle 82">
              <a:extLst>
                <a:ext uri="{FF2B5EF4-FFF2-40B4-BE49-F238E27FC236}">
                  <a16:creationId xmlns:a16="http://schemas.microsoft.com/office/drawing/2014/main" id="{4D3C394A-5E5B-00E8-074F-93DE09604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6306863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Rectangle 83">
              <a:extLst>
                <a:ext uri="{FF2B5EF4-FFF2-40B4-BE49-F238E27FC236}">
                  <a16:creationId xmlns:a16="http://schemas.microsoft.com/office/drawing/2014/main" id="{8AFFCC2C-537A-1445-A3CE-0E504231EC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6111503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Rectangle 84">
              <a:extLst>
                <a:ext uri="{FF2B5EF4-FFF2-40B4-BE49-F238E27FC236}">
                  <a16:creationId xmlns:a16="http://schemas.microsoft.com/office/drawing/2014/main" id="{90B38581-AF79-4073-FD70-266DBCF86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5909791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Rectangle 85">
              <a:extLst>
                <a:ext uri="{FF2B5EF4-FFF2-40B4-BE49-F238E27FC236}">
                  <a16:creationId xmlns:a16="http://schemas.microsoft.com/office/drawing/2014/main" id="{83F43AC5-B3AD-3D7A-57BB-B24A0B7AF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5714430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Rectangle 86">
              <a:extLst>
                <a:ext uri="{FF2B5EF4-FFF2-40B4-BE49-F238E27FC236}">
                  <a16:creationId xmlns:a16="http://schemas.microsoft.com/office/drawing/2014/main" id="{C70026A9-A69C-3F4F-164B-71A77120F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5512718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Rectangle 87">
              <a:extLst>
                <a:ext uri="{FF2B5EF4-FFF2-40B4-BE49-F238E27FC236}">
                  <a16:creationId xmlns:a16="http://schemas.microsoft.com/office/drawing/2014/main" id="{50455633-D7CA-1C58-5DEC-C676EE84B1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5317358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Rectangle 88">
              <a:extLst>
                <a:ext uri="{FF2B5EF4-FFF2-40B4-BE49-F238E27FC236}">
                  <a16:creationId xmlns:a16="http://schemas.microsoft.com/office/drawing/2014/main" id="{9717B092-19C3-7885-8A28-A467716AB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5114057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Rectangle 89">
              <a:extLst>
                <a:ext uri="{FF2B5EF4-FFF2-40B4-BE49-F238E27FC236}">
                  <a16:creationId xmlns:a16="http://schemas.microsoft.com/office/drawing/2014/main" id="{BF0D448C-1DB9-B425-284E-2C3AE5484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4918698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Rectangle 90">
              <a:extLst>
                <a:ext uri="{FF2B5EF4-FFF2-40B4-BE49-F238E27FC236}">
                  <a16:creationId xmlns:a16="http://schemas.microsoft.com/office/drawing/2014/main" id="{DD17CD55-DF87-9901-5233-B69A343E7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533" y="4716985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Rectangle 91">
              <a:extLst>
                <a:ext uri="{FF2B5EF4-FFF2-40B4-BE49-F238E27FC236}">
                  <a16:creationId xmlns:a16="http://schemas.microsoft.com/office/drawing/2014/main" id="{FF007355-5A2C-E396-2939-863A4DEC94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Rectangle 92">
              <a:extLst>
                <a:ext uri="{FF2B5EF4-FFF2-40B4-BE49-F238E27FC236}">
                  <a16:creationId xmlns:a16="http://schemas.microsoft.com/office/drawing/2014/main" id="{B4EE0D42-A6F6-C9CB-F751-83714D141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Rectangle 93">
              <a:extLst>
                <a:ext uri="{FF2B5EF4-FFF2-40B4-BE49-F238E27FC236}">
                  <a16:creationId xmlns:a16="http://schemas.microsoft.com/office/drawing/2014/main" id="{D4B66EBC-FD65-0A61-F5B0-78C4F7A5A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Rectangle 94">
              <a:extLst>
                <a:ext uri="{FF2B5EF4-FFF2-40B4-BE49-F238E27FC236}">
                  <a16:creationId xmlns:a16="http://schemas.microsoft.com/office/drawing/2014/main" id="{0401EBCF-2480-F6D1-4379-032968EA0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Rectangle 95">
              <a:extLst>
                <a:ext uri="{FF2B5EF4-FFF2-40B4-BE49-F238E27FC236}">
                  <a16:creationId xmlns:a16="http://schemas.microsoft.com/office/drawing/2014/main" id="{C7DA8198-7314-B238-BB5A-62338E1C51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Rectangle 96">
              <a:extLst>
                <a:ext uri="{FF2B5EF4-FFF2-40B4-BE49-F238E27FC236}">
                  <a16:creationId xmlns:a16="http://schemas.microsoft.com/office/drawing/2014/main" id="{4D5DE4D0-E7F5-3F32-BEE5-C0A048865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Rectangle 97">
              <a:extLst>
                <a:ext uri="{FF2B5EF4-FFF2-40B4-BE49-F238E27FC236}">
                  <a16:creationId xmlns:a16="http://schemas.microsoft.com/office/drawing/2014/main" id="{1EEEF5B0-9139-1C81-FE71-F6D675079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Rectangle 98">
              <a:extLst>
                <a:ext uri="{FF2B5EF4-FFF2-40B4-BE49-F238E27FC236}">
                  <a16:creationId xmlns:a16="http://schemas.microsoft.com/office/drawing/2014/main" id="{D6E858AC-8C5E-9126-F739-A7F2A108B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Rectangle 99">
              <a:extLst>
                <a:ext uri="{FF2B5EF4-FFF2-40B4-BE49-F238E27FC236}">
                  <a16:creationId xmlns:a16="http://schemas.microsoft.com/office/drawing/2014/main" id="{EC411CE7-EA46-0F4B-2451-F82F40433C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Rectangle 100">
              <a:extLst>
                <a:ext uri="{FF2B5EF4-FFF2-40B4-BE49-F238E27FC236}">
                  <a16:creationId xmlns:a16="http://schemas.microsoft.com/office/drawing/2014/main" id="{8594E2F7-1CF4-8524-3903-18AD8CF0CB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Rectangle 101">
              <a:extLst>
                <a:ext uri="{FF2B5EF4-FFF2-40B4-BE49-F238E27FC236}">
                  <a16:creationId xmlns:a16="http://schemas.microsoft.com/office/drawing/2014/main" id="{FF7E140F-ACDB-9EB3-D2AB-F2A075A85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4716985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Rectangle 102">
              <a:extLst>
                <a:ext uri="{FF2B5EF4-FFF2-40B4-BE49-F238E27FC236}">
                  <a16:creationId xmlns:a16="http://schemas.microsoft.com/office/drawing/2014/main" id="{3428AF67-B29C-255E-1E62-C664C4551D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4521626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Rectangle 103">
              <a:extLst>
                <a:ext uri="{FF2B5EF4-FFF2-40B4-BE49-F238E27FC236}">
                  <a16:creationId xmlns:a16="http://schemas.microsoft.com/office/drawing/2014/main" id="{D0A0D6D1-B5D4-85DE-6544-E48109EF3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4326265"/>
              <a:ext cx="355777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Rectangle 104">
              <a:extLst>
                <a:ext uri="{FF2B5EF4-FFF2-40B4-BE49-F238E27FC236}">
                  <a16:creationId xmlns:a16="http://schemas.microsoft.com/office/drawing/2014/main" id="{76662493-0AC6-9386-7D6A-A4899AEA09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4124553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Rectangle 105">
              <a:extLst>
                <a:ext uri="{FF2B5EF4-FFF2-40B4-BE49-F238E27FC236}">
                  <a16:creationId xmlns:a16="http://schemas.microsoft.com/office/drawing/2014/main" id="{5DC1F9B0-3893-39BD-377C-F0CBADEAB9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724" y="3929193"/>
              <a:ext cx="355777" cy="1492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Rectangle 106">
              <a:extLst>
                <a:ext uri="{FF2B5EF4-FFF2-40B4-BE49-F238E27FC236}">
                  <a16:creationId xmlns:a16="http://schemas.microsoft.com/office/drawing/2014/main" id="{104A159B-766C-03A1-5C88-9D21645EF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Rectangle 107">
              <a:extLst>
                <a:ext uri="{FF2B5EF4-FFF2-40B4-BE49-F238E27FC236}">
                  <a16:creationId xmlns:a16="http://schemas.microsoft.com/office/drawing/2014/main" id="{39C3C575-7B3F-60A2-349C-B8216C0368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Rectangle 108">
              <a:extLst>
                <a:ext uri="{FF2B5EF4-FFF2-40B4-BE49-F238E27FC236}">
                  <a16:creationId xmlns:a16="http://schemas.microsoft.com/office/drawing/2014/main" id="{7320E4B9-98AD-A5CC-ACA1-E8C9C6F7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Rectangle 109">
              <a:extLst>
                <a:ext uri="{FF2B5EF4-FFF2-40B4-BE49-F238E27FC236}">
                  <a16:creationId xmlns:a16="http://schemas.microsoft.com/office/drawing/2014/main" id="{B0D9DC17-C090-E804-42BE-89001B814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Rectangle 110">
              <a:extLst>
                <a:ext uri="{FF2B5EF4-FFF2-40B4-BE49-F238E27FC236}">
                  <a16:creationId xmlns:a16="http://schemas.microsoft.com/office/drawing/2014/main" id="{5F2D85F7-8DB4-65D1-95B0-70A0CDAFC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Rectangle 111">
              <a:extLst>
                <a:ext uri="{FF2B5EF4-FFF2-40B4-BE49-F238E27FC236}">
                  <a16:creationId xmlns:a16="http://schemas.microsoft.com/office/drawing/2014/main" id="{363BE12E-D302-2479-3A9B-25C750C73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Rectangle 112">
              <a:extLst>
                <a:ext uri="{FF2B5EF4-FFF2-40B4-BE49-F238E27FC236}">
                  <a16:creationId xmlns:a16="http://schemas.microsoft.com/office/drawing/2014/main" id="{87A7A92F-E343-9A98-2A47-1606E19EDE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Rectangle 113">
              <a:extLst>
                <a:ext uri="{FF2B5EF4-FFF2-40B4-BE49-F238E27FC236}">
                  <a16:creationId xmlns:a16="http://schemas.microsoft.com/office/drawing/2014/main" id="{5B7B0C40-BF78-C942-8743-5E1B0B835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Rectangle 114">
              <a:extLst>
                <a:ext uri="{FF2B5EF4-FFF2-40B4-BE49-F238E27FC236}">
                  <a16:creationId xmlns:a16="http://schemas.microsoft.com/office/drawing/2014/main" id="{33E3F4C0-65AE-4EA0-B9A1-7D0099C14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Rectangle 115">
              <a:extLst>
                <a:ext uri="{FF2B5EF4-FFF2-40B4-BE49-F238E27FC236}">
                  <a16:creationId xmlns:a16="http://schemas.microsoft.com/office/drawing/2014/main" id="{5401320B-73E0-E87E-F2CD-AC51F603C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916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Rectangle 116">
              <a:extLst>
                <a:ext uri="{FF2B5EF4-FFF2-40B4-BE49-F238E27FC236}">
                  <a16:creationId xmlns:a16="http://schemas.microsoft.com/office/drawing/2014/main" id="{8BC75D90-67CC-F387-71B4-AA69B4AEC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Rectangle 117">
              <a:extLst>
                <a:ext uri="{FF2B5EF4-FFF2-40B4-BE49-F238E27FC236}">
                  <a16:creationId xmlns:a16="http://schemas.microsoft.com/office/drawing/2014/main" id="{6BC8C311-ADD0-B401-09C0-E602AD6C5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Rectangle 118">
              <a:extLst>
                <a:ext uri="{FF2B5EF4-FFF2-40B4-BE49-F238E27FC236}">
                  <a16:creationId xmlns:a16="http://schemas.microsoft.com/office/drawing/2014/main" id="{FCF07AFB-D0DB-3598-681A-BC5DBCD7F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Rectangle 119">
              <a:extLst>
                <a:ext uri="{FF2B5EF4-FFF2-40B4-BE49-F238E27FC236}">
                  <a16:creationId xmlns:a16="http://schemas.microsoft.com/office/drawing/2014/main" id="{5D56F2E3-79AE-1FD4-C43D-BD9D942C0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Rectangle 120">
              <a:extLst>
                <a:ext uri="{FF2B5EF4-FFF2-40B4-BE49-F238E27FC236}">
                  <a16:creationId xmlns:a16="http://schemas.microsoft.com/office/drawing/2014/main" id="{7EAC5C8F-0F69-7DE5-C50C-49536A4D1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Rectangle 121">
              <a:extLst>
                <a:ext uri="{FF2B5EF4-FFF2-40B4-BE49-F238E27FC236}">
                  <a16:creationId xmlns:a16="http://schemas.microsoft.com/office/drawing/2014/main" id="{18E16BAE-F644-3A60-F17E-B65DE6125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Rectangle 122">
              <a:extLst>
                <a:ext uri="{FF2B5EF4-FFF2-40B4-BE49-F238E27FC236}">
                  <a16:creationId xmlns:a16="http://schemas.microsoft.com/office/drawing/2014/main" id="{0C58E9F9-ACFF-0F84-A5DE-AC59F702B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551271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Rectangle 123">
              <a:extLst>
                <a:ext uri="{FF2B5EF4-FFF2-40B4-BE49-F238E27FC236}">
                  <a16:creationId xmlns:a16="http://schemas.microsoft.com/office/drawing/2014/main" id="{44CF0145-1E79-16CA-1DDC-337B99A1C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5317358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Rectangle 124">
              <a:extLst>
                <a:ext uri="{FF2B5EF4-FFF2-40B4-BE49-F238E27FC236}">
                  <a16:creationId xmlns:a16="http://schemas.microsoft.com/office/drawing/2014/main" id="{43CEAE60-8256-113C-226C-C21671682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048" y="5114057"/>
              <a:ext cx="354189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Rectangle 125">
              <a:extLst>
                <a:ext uri="{FF2B5EF4-FFF2-40B4-BE49-F238E27FC236}">
                  <a16:creationId xmlns:a16="http://schemas.microsoft.com/office/drawing/2014/main" id="{720F019F-8A98-7BC9-2964-174560BC2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Rectangle 126">
              <a:extLst>
                <a:ext uri="{FF2B5EF4-FFF2-40B4-BE49-F238E27FC236}">
                  <a16:creationId xmlns:a16="http://schemas.microsoft.com/office/drawing/2014/main" id="{FE16AA9D-C817-FB45-1075-90A5933141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Rectangle 127">
              <a:extLst>
                <a:ext uri="{FF2B5EF4-FFF2-40B4-BE49-F238E27FC236}">
                  <a16:creationId xmlns:a16="http://schemas.microsoft.com/office/drawing/2014/main" id="{DFD5F00C-EE64-F9F1-2F00-3F28AF3F9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Rectangle 128">
              <a:extLst>
                <a:ext uri="{FF2B5EF4-FFF2-40B4-BE49-F238E27FC236}">
                  <a16:creationId xmlns:a16="http://schemas.microsoft.com/office/drawing/2014/main" id="{7872E1C5-138D-BA8B-6AF6-95431018B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9" name="Rectangle 129">
              <a:extLst>
                <a:ext uri="{FF2B5EF4-FFF2-40B4-BE49-F238E27FC236}">
                  <a16:creationId xmlns:a16="http://schemas.microsoft.com/office/drawing/2014/main" id="{CB09BD96-C5E6-8371-D1C4-7C6BF7DEA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5909791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Rectangle 130">
              <a:extLst>
                <a:ext uri="{FF2B5EF4-FFF2-40B4-BE49-F238E27FC236}">
                  <a16:creationId xmlns:a16="http://schemas.microsoft.com/office/drawing/2014/main" id="{2EB3BB34-EB3E-3ED8-A995-C5DFA244A6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239" y="5714430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Rectangle 131">
              <a:extLst>
                <a:ext uri="{FF2B5EF4-FFF2-40B4-BE49-F238E27FC236}">
                  <a16:creationId xmlns:a16="http://schemas.microsoft.com/office/drawing/2014/main" id="{DDE00754-16AD-7C69-5C13-1752B6677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Rectangle 132">
              <a:extLst>
                <a:ext uri="{FF2B5EF4-FFF2-40B4-BE49-F238E27FC236}">
                  <a16:creationId xmlns:a16="http://schemas.microsoft.com/office/drawing/2014/main" id="{13F212B1-0B20-84BE-4F89-A09EF6603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Rectangle 133">
              <a:extLst>
                <a:ext uri="{FF2B5EF4-FFF2-40B4-BE49-F238E27FC236}">
                  <a16:creationId xmlns:a16="http://schemas.microsoft.com/office/drawing/2014/main" id="{7B3AE826-B6D9-D4CC-9EA7-F4523EE24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Rectangle 134">
              <a:extLst>
                <a:ext uri="{FF2B5EF4-FFF2-40B4-BE49-F238E27FC236}">
                  <a16:creationId xmlns:a16="http://schemas.microsoft.com/office/drawing/2014/main" id="{D72E2EC1-37C5-CEBE-A9B4-DC3B15A750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Rectangle 135">
              <a:extLst>
                <a:ext uri="{FF2B5EF4-FFF2-40B4-BE49-F238E27FC236}">
                  <a16:creationId xmlns:a16="http://schemas.microsoft.com/office/drawing/2014/main" id="{3EAEF5C9-B68E-315D-0902-E4DAB4E35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Rectangle 136">
              <a:extLst>
                <a:ext uri="{FF2B5EF4-FFF2-40B4-BE49-F238E27FC236}">
                  <a16:creationId xmlns:a16="http://schemas.microsoft.com/office/drawing/2014/main" id="{0151700B-4A7D-2C23-64AD-6EDE5472A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Rectangle 137">
              <a:extLst>
                <a:ext uri="{FF2B5EF4-FFF2-40B4-BE49-F238E27FC236}">
                  <a16:creationId xmlns:a16="http://schemas.microsoft.com/office/drawing/2014/main" id="{62BC86BC-1359-A108-BF2F-5BA533A19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84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Rectangle 138">
              <a:extLst>
                <a:ext uri="{FF2B5EF4-FFF2-40B4-BE49-F238E27FC236}">
                  <a16:creationId xmlns:a16="http://schemas.microsoft.com/office/drawing/2014/main" id="{6FD934C8-E8B5-2A08-2896-2BBFCF6A5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Rectangle 139">
              <a:extLst>
                <a:ext uri="{FF2B5EF4-FFF2-40B4-BE49-F238E27FC236}">
                  <a16:creationId xmlns:a16="http://schemas.microsoft.com/office/drawing/2014/main" id="{6A3FA76C-0F5A-3F6D-03DB-39EF1A19E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Rectangle 140">
              <a:extLst>
                <a:ext uri="{FF2B5EF4-FFF2-40B4-BE49-F238E27FC236}">
                  <a16:creationId xmlns:a16="http://schemas.microsoft.com/office/drawing/2014/main" id="{4A5CA30F-E700-C352-05C9-B20BD5414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Rectangle 141">
              <a:extLst>
                <a:ext uri="{FF2B5EF4-FFF2-40B4-BE49-F238E27FC236}">
                  <a16:creationId xmlns:a16="http://schemas.microsoft.com/office/drawing/2014/main" id="{4C8506C9-6F86-2000-7861-D25858191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Rectangle 142">
              <a:extLst>
                <a:ext uri="{FF2B5EF4-FFF2-40B4-BE49-F238E27FC236}">
                  <a16:creationId xmlns:a16="http://schemas.microsoft.com/office/drawing/2014/main" id="{21181158-AACD-EADE-243B-D46A61FEE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Rectangle 143">
              <a:extLst>
                <a:ext uri="{FF2B5EF4-FFF2-40B4-BE49-F238E27FC236}">
                  <a16:creationId xmlns:a16="http://schemas.microsoft.com/office/drawing/2014/main" id="{2846D8AA-1506-371B-230C-E79BDEF38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Rectangle 144">
              <a:extLst>
                <a:ext uri="{FF2B5EF4-FFF2-40B4-BE49-F238E27FC236}">
                  <a16:creationId xmlns:a16="http://schemas.microsoft.com/office/drawing/2014/main" id="{258BF149-E1C6-75DA-5522-73A3C13C7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Rectangle 145">
              <a:extLst>
                <a:ext uri="{FF2B5EF4-FFF2-40B4-BE49-F238E27FC236}">
                  <a16:creationId xmlns:a16="http://schemas.microsoft.com/office/drawing/2014/main" id="{652F2872-CEDB-552E-CED5-D9C0F6EE9A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Rectangle 146">
              <a:extLst>
                <a:ext uri="{FF2B5EF4-FFF2-40B4-BE49-F238E27FC236}">
                  <a16:creationId xmlns:a16="http://schemas.microsoft.com/office/drawing/2014/main" id="{98BAA888-5A62-8FBB-6340-43606A5A7F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Rectangle 147">
              <a:extLst>
                <a:ext uri="{FF2B5EF4-FFF2-40B4-BE49-F238E27FC236}">
                  <a16:creationId xmlns:a16="http://schemas.microsoft.com/office/drawing/2014/main" id="{A4898791-7EBF-DF94-1E30-0809C3608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4918698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Rectangle 148">
              <a:extLst>
                <a:ext uri="{FF2B5EF4-FFF2-40B4-BE49-F238E27FC236}">
                  <a16:creationId xmlns:a16="http://schemas.microsoft.com/office/drawing/2014/main" id="{D987DB52-C65D-3AF7-BCF6-CB2AF3AFE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975" y="4716985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Rectangle 149">
              <a:extLst>
                <a:ext uri="{FF2B5EF4-FFF2-40B4-BE49-F238E27FC236}">
                  <a16:creationId xmlns:a16="http://schemas.microsoft.com/office/drawing/2014/main" id="{DABA095E-B71F-6F00-D8F7-409F347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Rectangle 150">
              <a:extLst>
                <a:ext uri="{FF2B5EF4-FFF2-40B4-BE49-F238E27FC236}">
                  <a16:creationId xmlns:a16="http://schemas.microsoft.com/office/drawing/2014/main" id="{D89A10A7-1A41-DAAB-DE17-84AC616DE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Rectangle 151">
              <a:extLst>
                <a:ext uri="{FF2B5EF4-FFF2-40B4-BE49-F238E27FC236}">
                  <a16:creationId xmlns:a16="http://schemas.microsoft.com/office/drawing/2014/main" id="{979C5C29-BF80-53D3-E55F-0030EF06E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Rectangle 152">
              <a:extLst>
                <a:ext uri="{FF2B5EF4-FFF2-40B4-BE49-F238E27FC236}">
                  <a16:creationId xmlns:a16="http://schemas.microsoft.com/office/drawing/2014/main" id="{397C08C1-BA6C-A315-6F27-7CB2FA1B1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Rectangle 153">
              <a:extLst>
                <a:ext uri="{FF2B5EF4-FFF2-40B4-BE49-F238E27FC236}">
                  <a16:creationId xmlns:a16="http://schemas.microsoft.com/office/drawing/2014/main" id="{2735878A-382F-E08A-413D-08A48F36B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Rectangle 154">
              <a:extLst>
                <a:ext uri="{FF2B5EF4-FFF2-40B4-BE49-F238E27FC236}">
                  <a16:creationId xmlns:a16="http://schemas.microsoft.com/office/drawing/2014/main" id="{9CA5AE63-1846-DF15-0F4B-C5BAA25C19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Rectangle 155">
              <a:extLst>
                <a:ext uri="{FF2B5EF4-FFF2-40B4-BE49-F238E27FC236}">
                  <a16:creationId xmlns:a16="http://schemas.microsoft.com/office/drawing/2014/main" id="{4F7E5DAD-44D4-6054-0D5E-DFB61EB81A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Rectangle 156">
              <a:extLst>
                <a:ext uri="{FF2B5EF4-FFF2-40B4-BE49-F238E27FC236}">
                  <a16:creationId xmlns:a16="http://schemas.microsoft.com/office/drawing/2014/main" id="{CBE23C41-1C66-221B-F4DA-13ED2C7A2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Rectangle 157">
              <a:extLst>
                <a:ext uri="{FF2B5EF4-FFF2-40B4-BE49-F238E27FC236}">
                  <a16:creationId xmlns:a16="http://schemas.microsoft.com/office/drawing/2014/main" id="{67E57BB9-DAC2-670E-6007-CA857A8399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520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8" name="Rectangle 158">
              <a:extLst>
                <a:ext uri="{FF2B5EF4-FFF2-40B4-BE49-F238E27FC236}">
                  <a16:creationId xmlns:a16="http://schemas.microsoft.com/office/drawing/2014/main" id="{63961CF6-E3B4-A798-E370-0775EB5C2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Rectangle 159">
              <a:extLst>
                <a:ext uri="{FF2B5EF4-FFF2-40B4-BE49-F238E27FC236}">
                  <a16:creationId xmlns:a16="http://schemas.microsoft.com/office/drawing/2014/main" id="{0664C753-84EF-15C3-65D3-D5F116D82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Rectangle 160">
              <a:extLst>
                <a:ext uri="{FF2B5EF4-FFF2-40B4-BE49-F238E27FC236}">
                  <a16:creationId xmlns:a16="http://schemas.microsoft.com/office/drawing/2014/main" id="{D7F02F7C-B9E6-9348-5416-CB389D2EE9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Rectangle 161">
              <a:extLst>
                <a:ext uri="{FF2B5EF4-FFF2-40B4-BE49-F238E27FC236}">
                  <a16:creationId xmlns:a16="http://schemas.microsoft.com/office/drawing/2014/main" id="{E2A58F9C-58DF-B1A2-FED3-3DCD30B00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Rectangle 162">
              <a:extLst>
                <a:ext uri="{FF2B5EF4-FFF2-40B4-BE49-F238E27FC236}">
                  <a16:creationId xmlns:a16="http://schemas.microsoft.com/office/drawing/2014/main" id="{20A6CBF8-8B2B-FD22-5C45-115B1744A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Rectangle 163">
              <a:extLst>
                <a:ext uri="{FF2B5EF4-FFF2-40B4-BE49-F238E27FC236}">
                  <a16:creationId xmlns:a16="http://schemas.microsoft.com/office/drawing/2014/main" id="{D85ECAB9-9A43-044C-748A-D3F3776BB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Rectangle 164">
              <a:extLst>
                <a:ext uri="{FF2B5EF4-FFF2-40B4-BE49-F238E27FC236}">
                  <a16:creationId xmlns:a16="http://schemas.microsoft.com/office/drawing/2014/main" id="{8D3540CD-85BE-D1D7-3F35-A8B955AA2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711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Rectangle 165">
              <a:extLst>
                <a:ext uri="{FF2B5EF4-FFF2-40B4-BE49-F238E27FC236}">
                  <a16:creationId xmlns:a16="http://schemas.microsoft.com/office/drawing/2014/main" id="{B7E74401-CB90-2EFC-6C23-1D981586C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3845" y="670393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6" name="Rectangle 166">
              <a:extLst>
                <a:ext uri="{FF2B5EF4-FFF2-40B4-BE49-F238E27FC236}">
                  <a16:creationId xmlns:a16="http://schemas.microsoft.com/office/drawing/2014/main" id="{85AEAC70-2C62-F495-7949-EE50A1934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3845" y="650857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Rectangle 167">
              <a:extLst>
                <a:ext uri="{FF2B5EF4-FFF2-40B4-BE49-F238E27FC236}">
                  <a16:creationId xmlns:a16="http://schemas.microsoft.com/office/drawing/2014/main" id="{77CD5CCC-A387-95F3-02BD-2AF0FD437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3845" y="630686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Rectangle 168">
              <a:extLst>
                <a:ext uri="{FF2B5EF4-FFF2-40B4-BE49-F238E27FC236}">
                  <a16:creationId xmlns:a16="http://schemas.microsoft.com/office/drawing/2014/main" id="{CF63D4C4-7170-5331-7E00-B0544980B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3845" y="611150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Rectangle 169">
              <a:extLst>
                <a:ext uri="{FF2B5EF4-FFF2-40B4-BE49-F238E27FC236}">
                  <a16:creationId xmlns:a16="http://schemas.microsoft.com/office/drawing/2014/main" id="{3B6719D6-5D43-7669-DE85-56BCEACDD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3845" y="5909791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Rectangle 170">
              <a:extLst>
                <a:ext uri="{FF2B5EF4-FFF2-40B4-BE49-F238E27FC236}">
                  <a16:creationId xmlns:a16="http://schemas.microsoft.com/office/drawing/2014/main" id="{7CCF79B5-2704-F062-0D2D-4F23492370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036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Rectangle 171">
              <a:extLst>
                <a:ext uri="{FF2B5EF4-FFF2-40B4-BE49-F238E27FC236}">
                  <a16:creationId xmlns:a16="http://schemas.microsoft.com/office/drawing/2014/main" id="{089FE7AF-8094-8ECA-2E4E-A15D88851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036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Rectangle 172">
              <a:extLst>
                <a:ext uri="{FF2B5EF4-FFF2-40B4-BE49-F238E27FC236}">
                  <a16:creationId xmlns:a16="http://schemas.microsoft.com/office/drawing/2014/main" id="{CDC839B5-5E05-7DEF-DAEE-851A65180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036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Rectangle 173">
              <a:extLst>
                <a:ext uri="{FF2B5EF4-FFF2-40B4-BE49-F238E27FC236}">
                  <a16:creationId xmlns:a16="http://schemas.microsoft.com/office/drawing/2014/main" id="{89494051-5217-DCB1-2411-B9EAC0E3E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036" y="611150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Rectangle 174">
              <a:extLst>
                <a:ext uri="{FF2B5EF4-FFF2-40B4-BE49-F238E27FC236}">
                  <a16:creationId xmlns:a16="http://schemas.microsoft.com/office/drawing/2014/main" id="{EC38971F-51C9-E81A-4502-57AEB0D87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670393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Rectangle 175">
              <a:extLst>
                <a:ext uri="{FF2B5EF4-FFF2-40B4-BE49-F238E27FC236}">
                  <a16:creationId xmlns:a16="http://schemas.microsoft.com/office/drawing/2014/main" id="{F48F3551-C031-A462-3A12-8BA4C48115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6508575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Rectangle 176">
              <a:extLst>
                <a:ext uri="{FF2B5EF4-FFF2-40B4-BE49-F238E27FC236}">
                  <a16:creationId xmlns:a16="http://schemas.microsoft.com/office/drawing/2014/main" id="{5E9D1A76-FF0B-84CD-0F03-E6538E552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630686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Rectangle 177">
              <a:extLst>
                <a:ext uri="{FF2B5EF4-FFF2-40B4-BE49-F238E27FC236}">
                  <a16:creationId xmlns:a16="http://schemas.microsoft.com/office/drawing/2014/main" id="{BFECC5E9-4CC5-C2C0-0803-7F9E3224E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6111503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Rectangle 178">
              <a:extLst>
                <a:ext uri="{FF2B5EF4-FFF2-40B4-BE49-F238E27FC236}">
                  <a16:creationId xmlns:a16="http://schemas.microsoft.com/office/drawing/2014/main" id="{4C750EF2-7D8A-CCB2-03CE-B896A0C32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5909791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Rectangle 179">
              <a:extLst>
                <a:ext uri="{FF2B5EF4-FFF2-40B4-BE49-F238E27FC236}">
                  <a16:creationId xmlns:a16="http://schemas.microsoft.com/office/drawing/2014/main" id="{D4154962-3601-8917-FB8C-A9A1F0A0C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5714430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Rectangle 180">
              <a:extLst>
                <a:ext uri="{FF2B5EF4-FFF2-40B4-BE49-F238E27FC236}">
                  <a16:creationId xmlns:a16="http://schemas.microsoft.com/office/drawing/2014/main" id="{A1E1233B-A535-2A6C-4B79-713C930DCD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0581" y="5512718"/>
              <a:ext cx="347836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Rectangle 181">
              <a:extLst>
                <a:ext uri="{FF2B5EF4-FFF2-40B4-BE49-F238E27FC236}">
                  <a16:creationId xmlns:a16="http://schemas.microsoft.com/office/drawing/2014/main" id="{F6EA8A29-D643-BF09-0874-B59EEDBE4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670393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2" name="Rectangle 182">
              <a:extLst>
                <a:ext uri="{FF2B5EF4-FFF2-40B4-BE49-F238E27FC236}">
                  <a16:creationId xmlns:a16="http://schemas.microsoft.com/office/drawing/2014/main" id="{72822149-3E1B-69F3-76DF-422921209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6508575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3" name="Rectangle 183">
              <a:extLst>
                <a:ext uri="{FF2B5EF4-FFF2-40B4-BE49-F238E27FC236}">
                  <a16:creationId xmlns:a16="http://schemas.microsoft.com/office/drawing/2014/main" id="{EC4A9E89-8866-BBD9-9039-B902B71B20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630686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Rectangle 184">
              <a:extLst>
                <a:ext uri="{FF2B5EF4-FFF2-40B4-BE49-F238E27FC236}">
                  <a16:creationId xmlns:a16="http://schemas.microsoft.com/office/drawing/2014/main" id="{9B36ACF8-4E69-BAB6-C337-46A9DD75E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6111503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Rectangle 185">
              <a:extLst>
                <a:ext uri="{FF2B5EF4-FFF2-40B4-BE49-F238E27FC236}">
                  <a16:creationId xmlns:a16="http://schemas.microsoft.com/office/drawing/2014/main" id="{A594B6E7-C0CC-FEA1-B3C8-4C004509A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5909791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Rectangle 186">
              <a:extLst>
                <a:ext uri="{FF2B5EF4-FFF2-40B4-BE49-F238E27FC236}">
                  <a16:creationId xmlns:a16="http://schemas.microsoft.com/office/drawing/2014/main" id="{49AC76CD-CAB9-EB42-3975-73977F478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5714430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Rectangle 187">
              <a:extLst>
                <a:ext uri="{FF2B5EF4-FFF2-40B4-BE49-F238E27FC236}">
                  <a16:creationId xmlns:a16="http://schemas.microsoft.com/office/drawing/2014/main" id="{A9590C9C-9276-462A-EDC7-223B62644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551271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Rectangle 188">
              <a:extLst>
                <a:ext uri="{FF2B5EF4-FFF2-40B4-BE49-F238E27FC236}">
                  <a16:creationId xmlns:a16="http://schemas.microsoft.com/office/drawing/2014/main" id="{73825D3E-4837-F6DA-BB14-26B02B314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5317358"/>
              <a:ext cx="355777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Rectangle 189">
              <a:extLst>
                <a:ext uri="{FF2B5EF4-FFF2-40B4-BE49-F238E27FC236}">
                  <a16:creationId xmlns:a16="http://schemas.microsoft.com/office/drawing/2014/main" id="{F7F80672-4290-072C-C7B3-AF485A429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5772" y="5114057"/>
              <a:ext cx="355777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Rectangle 190">
              <a:extLst>
                <a:ext uri="{FF2B5EF4-FFF2-40B4-BE49-F238E27FC236}">
                  <a16:creationId xmlns:a16="http://schemas.microsoft.com/office/drawing/2014/main" id="{839981DF-8B87-6DD9-1802-76D090572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6703935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Rectangle 191">
              <a:extLst>
                <a:ext uri="{FF2B5EF4-FFF2-40B4-BE49-F238E27FC236}">
                  <a16:creationId xmlns:a16="http://schemas.microsoft.com/office/drawing/2014/main" id="{2D8134B1-5AD7-DF8D-4D57-7FA9CF176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6508575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Rectangle 192">
              <a:extLst>
                <a:ext uri="{FF2B5EF4-FFF2-40B4-BE49-F238E27FC236}">
                  <a16:creationId xmlns:a16="http://schemas.microsoft.com/office/drawing/2014/main" id="{DAB137CF-50C9-E7A8-EC9B-F70A034BF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6306863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Rectangle 193">
              <a:extLst>
                <a:ext uri="{FF2B5EF4-FFF2-40B4-BE49-F238E27FC236}">
                  <a16:creationId xmlns:a16="http://schemas.microsoft.com/office/drawing/2014/main" id="{8C0B677B-A9FB-AE39-F07C-74E920FF0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6111503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Rectangle 194">
              <a:extLst>
                <a:ext uri="{FF2B5EF4-FFF2-40B4-BE49-F238E27FC236}">
                  <a16:creationId xmlns:a16="http://schemas.microsoft.com/office/drawing/2014/main" id="{8AE30617-87E1-41DD-EA33-804D0BE10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5909791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5" name="Rectangle 195">
              <a:extLst>
                <a:ext uri="{FF2B5EF4-FFF2-40B4-BE49-F238E27FC236}">
                  <a16:creationId xmlns:a16="http://schemas.microsoft.com/office/drawing/2014/main" id="{97DD32F7-529D-5EB5-3BAC-06F79B0AE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5714430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6" name="Rectangle 196">
              <a:extLst>
                <a:ext uri="{FF2B5EF4-FFF2-40B4-BE49-F238E27FC236}">
                  <a16:creationId xmlns:a16="http://schemas.microsoft.com/office/drawing/2014/main" id="{F28D1BF4-7655-573F-8019-9A55C0CBC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5512718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Rectangle 197">
              <a:extLst>
                <a:ext uri="{FF2B5EF4-FFF2-40B4-BE49-F238E27FC236}">
                  <a16:creationId xmlns:a16="http://schemas.microsoft.com/office/drawing/2014/main" id="{DFC33F04-8245-6A0D-F7D1-4421A8A73F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5317358"/>
              <a:ext cx="349424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Rectangle 198">
              <a:extLst>
                <a:ext uri="{FF2B5EF4-FFF2-40B4-BE49-F238E27FC236}">
                  <a16:creationId xmlns:a16="http://schemas.microsoft.com/office/drawing/2014/main" id="{DD81D069-BE92-6836-8D23-DF33730D68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5114057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Rectangle 199">
              <a:extLst>
                <a:ext uri="{FF2B5EF4-FFF2-40B4-BE49-F238E27FC236}">
                  <a16:creationId xmlns:a16="http://schemas.microsoft.com/office/drawing/2014/main" id="{9B33C319-3F86-720B-218A-26229D41A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4918698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0" name="Rectangle 200">
              <a:extLst>
                <a:ext uri="{FF2B5EF4-FFF2-40B4-BE49-F238E27FC236}">
                  <a16:creationId xmlns:a16="http://schemas.microsoft.com/office/drawing/2014/main" id="{7E31649F-1607-0970-F523-5C6F238FD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4716985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1" name="Rectangle 201">
              <a:extLst>
                <a:ext uri="{FF2B5EF4-FFF2-40B4-BE49-F238E27FC236}">
                  <a16:creationId xmlns:a16="http://schemas.microsoft.com/office/drawing/2014/main" id="{E3888FCB-6BFB-588C-70B2-31E633267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317" y="4521626"/>
              <a:ext cx="349424" cy="1556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Rectangle 202">
              <a:extLst>
                <a:ext uri="{FF2B5EF4-FFF2-40B4-BE49-F238E27FC236}">
                  <a16:creationId xmlns:a16="http://schemas.microsoft.com/office/drawing/2014/main" id="{9A5B67AF-8623-00CF-6987-27C384B23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670393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3" name="Rectangle 203">
              <a:extLst>
                <a:ext uri="{FF2B5EF4-FFF2-40B4-BE49-F238E27FC236}">
                  <a16:creationId xmlns:a16="http://schemas.microsoft.com/office/drawing/2014/main" id="{8EC82EAB-E1F6-1857-7A1C-E4E8AAC3A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6508575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Rectangle 204">
              <a:extLst>
                <a:ext uri="{FF2B5EF4-FFF2-40B4-BE49-F238E27FC236}">
                  <a16:creationId xmlns:a16="http://schemas.microsoft.com/office/drawing/2014/main" id="{F54664E9-296A-AD14-8AE4-7454F6E6C5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4096" y="6306863"/>
              <a:ext cx="354189" cy="15406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EF6AD44-71DE-7C91-368E-1AC1FD213050}"/>
              </a:ext>
            </a:extLst>
          </p:cNvPr>
          <p:cNvSpPr>
            <a:spLocks noGrp="1"/>
          </p:cNvSpPr>
          <p:nvPr/>
        </p:nvSpPr>
        <p:spPr>
          <a:xfrm>
            <a:off x="3153613" y="22646"/>
            <a:ext cx="11980774" cy="12630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49803"/>
              </a:srgbClr>
            </a:outerShdw>
          </a:effectLst>
        </p:spPr>
        <p:txBody>
          <a:bodyPr spcFirstLastPara="1" vert="horz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0"/>
              <a:buFont typeface="League Spartan ExtraBold"/>
              <a:buNone/>
              <a:defRPr sz="14000" b="0" i="0" u="none" strike="noStrike" cap="none">
                <a:solidFill>
                  <a:schemeClr val="lt1"/>
                </a:solidFill>
                <a:latin typeface="League Spartan ExtraBold"/>
                <a:ea typeface="League Spartan ExtraBold"/>
                <a:cs typeface="League Spartan ExtraBold"/>
                <a:sym typeface="League Spartan Extra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DC6D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23DC6D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9600">
                <a:solidFill>
                  <a:srgbClr val="00B050"/>
                </a:solidFill>
              </a:rPr>
              <a:t>Introduction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F4C9296-369C-BA32-CC75-46FC07B53D83}"/>
              </a:ext>
            </a:extLst>
          </p:cNvPr>
          <p:cNvSpPr>
            <a:spLocks noGrp="1"/>
          </p:cNvSpPr>
          <p:nvPr/>
        </p:nvSpPr>
        <p:spPr>
          <a:xfrm>
            <a:off x="1708627" y="1534124"/>
            <a:ext cx="14488542" cy="8756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–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–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»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65125" algn="ctr" rtl="0">
              <a:lnSpc>
                <a:spcPct val="110000"/>
              </a:lnSpc>
              <a:spcBef>
                <a:spcPts val="640"/>
              </a:spcBef>
              <a:spcAft>
                <a:spcPts val="0"/>
              </a:spcAft>
              <a:buClr>
                <a:schemeClr val="lt1"/>
              </a:buClr>
              <a:buSzPts val="2150"/>
              <a:buFont typeface="Lato"/>
              <a:buChar char="•"/>
              <a:defRPr sz="215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algn="l"/>
            <a:r>
              <a:rPr lang="en-IN" sz="3200" i="0" u="none" strike="noStrike">
                <a:solidFill>
                  <a:schemeClr val="bg1"/>
                </a:solidFill>
                <a:effectLst/>
              </a:rPr>
              <a:t>Our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primary objective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is to develop a model capable of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accurately identifying songs with high potential for popularity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in the streaming market. Given that a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hit song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can generate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$150,000+ in revenue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compared to the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$30,000 investment cost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, our strategy prioritizes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maximizing recall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over precision.</a:t>
            </a:r>
            <a:r>
              <a:rPr lang="en-IN" sz="3200">
                <a:solidFill>
                  <a:schemeClr val="bg1"/>
                </a:solidFill>
              </a:rPr>
              <a:t> </a:t>
            </a:r>
            <a:endParaRPr lang="en-US"/>
          </a:p>
          <a:p>
            <a:pPr algn="l"/>
            <a:r>
              <a:rPr lang="en-IN" sz="3200" i="0" u="none" strike="noStrike">
                <a:solidFill>
                  <a:schemeClr val="bg1"/>
                </a:solidFill>
                <a:effectLst/>
              </a:rPr>
              <a:t>We recognize that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missing a potential hit song (false negative)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represents a much greater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opportunity cost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than investing in a song that doesn't become a hit (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false positive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). Therefore, our model is specifically optimized to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capture as many potential hits as possible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, even if this means accepting some false positives.</a:t>
            </a:r>
            <a:r>
              <a:rPr lang="en-IN" sz="3200">
                <a:solidFill>
                  <a:schemeClr val="bg1"/>
                </a:solidFill>
              </a:rPr>
              <a:t> </a:t>
            </a:r>
            <a:endParaRPr lang="en-IN"/>
          </a:p>
          <a:p>
            <a:pPr algn="l"/>
            <a:r>
              <a:rPr lang="en-IN" sz="3200" i="0" u="none" strike="noStrike">
                <a:solidFill>
                  <a:schemeClr val="bg1"/>
                </a:solidFill>
                <a:effectLst/>
              </a:rPr>
              <a:t>This approach aligns with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Universal Music's business objectives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, as the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substantial returns from hit songs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can easily offset the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investment costs of false positives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. Our model's performance will be evaluated using both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precision and recall metrics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, with a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strategic emphasis on maximizing recall</a:t>
            </a:r>
            <a:r>
              <a:rPr lang="en-IN" sz="3200" i="0" u="none" strike="noStrike">
                <a:solidFill>
                  <a:schemeClr val="bg1"/>
                </a:solidFill>
                <a:effectLst/>
              </a:rPr>
              <a:t> to ensure we don't miss the </a:t>
            </a:r>
            <a:r>
              <a:rPr lang="en-IN" sz="3200" b="1" i="0" u="none" strike="noStrike">
                <a:solidFill>
                  <a:schemeClr val="bg1"/>
                </a:solidFill>
                <a:effectLst/>
              </a:rPr>
              <a:t>next big hit</a:t>
            </a:r>
            <a:r>
              <a:rPr lang="en-IN" sz="3200">
                <a:solidFill>
                  <a:schemeClr val="bg1"/>
                </a:solidFill>
              </a:rPr>
              <a:t>.</a:t>
            </a:r>
            <a:endParaRPr lang="en-IN">
              <a:solidFill>
                <a:schemeClr val="bg1"/>
              </a:solidFill>
            </a:endParaRPr>
          </a:p>
          <a:p>
            <a:pPr marL="92075" indent="0" algn="l">
              <a:buNone/>
            </a:pPr>
            <a:endParaRPr lang="en-IN" sz="32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581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g31abfd2b4e9_0_130"/>
          <p:cNvSpPr txBox="1"/>
          <p:nvPr/>
        </p:nvSpPr>
        <p:spPr>
          <a:xfrm>
            <a:off x="912049" y="2321200"/>
            <a:ext cx="1296900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999"/>
              <a:buFont typeface="Arial"/>
              <a:buNone/>
            </a:pPr>
            <a:r>
              <a:rPr lang="en-US" sz="36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0</a:t>
            </a:r>
            <a:endParaRPr sz="3600" b="1" i="0" u="none" strike="noStrike" cap="none">
              <a:solidFill>
                <a:srgbClr val="000000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grpSp>
        <p:nvGrpSpPr>
          <p:cNvPr id="190" name="Google Shape;190;g31abfd2b4e9_0_130"/>
          <p:cNvGrpSpPr/>
          <p:nvPr/>
        </p:nvGrpSpPr>
        <p:grpSpPr>
          <a:xfrm>
            <a:off x="11802544" y="381240"/>
            <a:ext cx="1296867" cy="1249709"/>
            <a:chOff x="0" y="0"/>
            <a:chExt cx="1729156" cy="1666278"/>
          </a:xfrm>
        </p:grpSpPr>
        <p:sp>
          <p:nvSpPr>
            <p:cNvPr id="191" name="Google Shape;191;g31abfd2b4e9_0_130"/>
            <p:cNvSpPr/>
            <p:nvPr/>
          </p:nvSpPr>
          <p:spPr>
            <a:xfrm>
              <a:off x="0" y="0"/>
              <a:ext cx="1729156" cy="1666278"/>
            </a:xfrm>
            <a:custGeom>
              <a:avLst/>
              <a:gdLst/>
              <a:ahLst/>
              <a:cxnLst/>
              <a:rect l="l" t="t" r="r" b="b"/>
              <a:pathLst>
                <a:path w="1729156" h="1666278" extrusionOk="0">
                  <a:moveTo>
                    <a:pt x="0" y="0"/>
                  </a:moveTo>
                  <a:lnTo>
                    <a:pt x="1729156" y="0"/>
                  </a:lnTo>
                  <a:lnTo>
                    <a:pt x="1729156" y="1666278"/>
                  </a:lnTo>
                  <a:lnTo>
                    <a:pt x="0" y="166627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</p:sp>
        <p:grpSp>
          <p:nvGrpSpPr>
            <p:cNvPr id="192" name="Google Shape;192;g31abfd2b4e9_0_130"/>
            <p:cNvGrpSpPr/>
            <p:nvPr/>
          </p:nvGrpSpPr>
          <p:grpSpPr>
            <a:xfrm rot="5400000">
              <a:off x="580810" y="445203"/>
              <a:ext cx="836940" cy="775884"/>
              <a:chOff x="0" y="0"/>
              <a:chExt cx="812800" cy="753505"/>
            </a:xfrm>
          </p:grpSpPr>
          <p:sp>
            <p:nvSpPr>
              <p:cNvPr id="193" name="Google Shape;193;g31abfd2b4e9_0_130"/>
              <p:cNvSpPr/>
              <p:nvPr/>
            </p:nvSpPr>
            <p:spPr>
              <a:xfrm>
                <a:off x="0" y="0"/>
                <a:ext cx="812800" cy="75350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753505" extrusionOk="0">
                    <a:moveTo>
                      <a:pt x="406400" y="0"/>
                    </a:moveTo>
                    <a:lnTo>
                      <a:pt x="812800" y="753505"/>
                    </a:lnTo>
                    <a:lnTo>
                      <a:pt x="0" y="75350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</p:sp>
          <p:sp>
            <p:nvSpPr>
              <p:cNvPr id="194" name="Google Shape;194;g31abfd2b4e9_0_130"/>
              <p:cNvSpPr txBox="1"/>
              <p:nvPr/>
            </p:nvSpPr>
            <p:spPr>
              <a:xfrm>
                <a:off x="127000" y="321267"/>
                <a:ext cx="558900" cy="378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39350" tIns="39350" rIns="39350" bIns="393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56388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" name="Google Shape;172;g31abfd2b4e9_0_15" descr="A group of devices with a screen on&#10;&#10;Description automatically generated">
            <a:extLst>
              <a:ext uri="{FF2B5EF4-FFF2-40B4-BE49-F238E27FC236}">
                <a16:creationId xmlns:a16="http://schemas.microsoft.com/office/drawing/2014/main" id="{72F6F12B-EC05-6D19-FE8D-2ADE88D430D1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3685" r="13685"/>
          <a:stretch/>
        </p:blipFill>
        <p:spPr>
          <a:xfrm>
            <a:off x="10092078" y="0"/>
            <a:ext cx="13282743" cy="102869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74;g31abfd2b4e9_0_15">
            <a:extLst>
              <a:ext uri="{FF2B5EF4-FFF2-40B4-BE49-F238E27FC236}">
                <a16:creationId xmlns:a16="http://schemas.microsoft.com/office/drawing/2014/main" id="{5A9CEFD4-A50E-120A-387A-B9755A3DCFDB}"/>
              </a:ext>
            </a:extLst>
          </p:cNvPr>
          <p:cNvSpPr/>
          <p:nvPr/>
        </p:nvSpPr>
        <p:spPr>
          <a:xfrm>
            <a:off x="7499597" y="5"/>
            <a:ext cx="9900148" cy="10286945"/>
          </a:xfrm>
          <a:custGeom>
            <a:avLst/>
            <a:gdLst/>
            <a:ahLst/>
            <a:cxnLst/>
            <a:rect l="l" t="t" r="r" b="b"/>
            <a:pathLst>
              <a:path w="812800" h="1194892" extrusionOk="0">
                <a:moveTo>
                  <a:pt x="203200" y="0"/>
                </a:moveTo>
                <a:lnTo>
                  <a:pt x="812800" y="0"/>
                </a:lnTo>
                <a:lnTo>
                  <a:pt x="609600" y="1194892"/>
                </a:lnTo>
                <a:lnTo>
                  <a:pt x="0" y="1194892"/>
                </a:lnTo>
                <a:lnTo>
                  <a:pt x="20320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88" name="Google Shape;188;g31abfd2b4e9_0_130"/>
          <p:cNvSpPr txBox="1"/>
          <p:nvPr/>
        </p:nvSpPr>
        <p:spPr>
          <a:xfrm>
            <a:off x="912050" y="2875300"/>
            <a:ext cx="13874142" cy="620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2400" b="1">
                <a:solidFill>
                  <a:srgbClr val="23DC6D"/>
                </a:solidFill>
                <a:latin typeface="Lato"/>
                <a:ea typeface="Lato"/>
                <a:cs typeface="Lato"/>
                <a:sym typeface="Lato"/>
              </a:rPr>
              <a:t>Data Analysis:</a:t>
            </a:r>
            <a:endParaRPr lang="ru-RU" sz="2400">
              <a:solidFill>
                <a:srgbClr val="FFFFFF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1. There are 2 datasets. We realized that it would be beneficial to merge them to get the most out of the avalibale data.</a:t>
            </a: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2. First, we questioned ourselves about which features to keep. The most questionable feature one was 'Duration'. We conducted distribution analysis per each genre to ensure that we shall keep it.</a:t>
            </a: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3. We ensured that their features are comparable.</a:t>
            </a:r>
            <a:endParaRPr lang="en-US">
              <a:solidFill>
                <a:schemeClr val="bg1"/>
              </a:solidFill>
            </a:endParaRP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4. Then we unified features format across the datasets.</a:t>
            </a: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5. For the 1st dataset, we made dummy variables for each genre, removing duplicate rows corresponding to the same song.</a:t>
            </a: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6. Then we could merge datasets, considering different ways the same song can be written (</a:t>
            </a:r>
            <a:r>
              <a:rPr lang="en-US" sz="2400">
                <a:solidFill>
                  <a:srgbClr val="FF0000"/>
                </a:solidFill>
                <a:latin typeface="Lato"/>
                <a:ea typeface="Lato"/>
                <a:cs typeface="Lato"/>
              </a:rPr>
              <a:t>it was very painful</a:t>
            </a: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).</a:t>
            </a:r>
          </a:p>
          <a:p>
            <a:pPr marL="457200" indent="-457200">
              <a:lnSpc>
                <a:spcPct val="140000"/>
              </a:lnSpc>
              <a:buAutoNum type="arabicPeriod"/>
            </a:pPr>
            <a:r>
              <a:rPr lang="en-US" sz="2400">
                <a:solidFill>
                  <a:schemeClr val="bg1"/>
                </a:solidFill>
                <a:latin typeface="Lato"/>
                <a:ea typeface="Lato"/>
                <a:cs typeface="Lato"/>
              </a:rPr>
              <a:t>7. After this, we replaced fixed values and fixed distribution skewness for some of the features.</a:t>
            </a:r>
          </a:p>
        </p:txBody>
      </p:sp>
      <p:sp>
        <p:nvSpPr>
          <p:cNvPr id="195" name="Google Shape;195;g31abfd2b4e9_0_130"/>
          <p:cNvSpPr txBox="1"/>
          <p:nvPr/>
        </p:nvSpPr>
        <p:spPr>
          <a:xfrm>
            <a:off x="4505745" y="449417"/>
            <a:ext cx="7045500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lnSpc>
                <a:spcPct val="140000"/>
              </a:lnSpc>
              <a:buSzPts val="7515"/>
            </a:pPr>
            <a:r>
              <a:rPr lang="en-US" sz="7500" b="1">
                <a:solidFill>
                  <a:srgbClr val="FFFFFF"/>
                </a:solidFill>
                <a:latin typeface="League Spartan"/>
                <a:sym typeface="League Spartan"/>
              </a:rPr>
              <a:t>Data Engineering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1990562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31abfd2b4e9_0_130"/>
          <p:cNvSpPr txBox="1"/>
          <p:nvPr/>
        </p:nvSpPr>
        <p:spPr>
          <a:xfrm>
            <a:off x="912050" y="2875300"/>
            <a:ext cx="5121600" cy="657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23DC6D"/>
                </a:solidFill>
                <a:latin typeface="Lato"/>
                <a:ea typeface="Lato"/>
                <a:cs typeface="Lato"/>
                <a:sym typeface="Lato"/>
              </a:rPr>
              <a:t>Correlation Analysis:</a:t>
            </a:r>
            <a:endParaRPr sz="2400" b="1">
              <a:solidFill>
                <a:srgbClr val="23DC6D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nergy and loudness show a strong positive correlation (~0.8), higher energy often corresponds to louder tracks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valence and danceability are moderately correlated (~0.5), "happier" sounding tracks often have higher danceability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Individual features have weak positive correlations with popular, suggesting no single feature fully explains popularity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89" name="Google Shape;189;g31abfd2b4e9_0_130"/>
          <p:cNvSpPr txBox="1"/>
          <p:nvPr/>
        </p:nvSpPr>
        <p:spPr>
          <a:xfrm>
            <a:off x="912049" y="2321200"/>
            <a:ext cx="12969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999"/>
              <a:buFont typeface="Arial"/>
              <a:buNone/>
            </a:pPr>
            <a:r>
              <a:rPr lang="en-US" sz="3600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1</a:t>
            </a:r>
            <a:endParaRPr sz="3600" b="1" i="0" u="none" strike="noStrike" cap="none">
              <a:solidFill>
                <a:srgbClr val="000000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grpSp>
        <p:nvGrpSpPr>
          <p:cNvPr id="190" name="Google Shape;190;g31abfd2b4e9_0_130"/>
          <p:cNvGrpSpPr/>
          <p:nvPr/>
        </p:nvGrpSpPr>
        <p:grpSpPr>
          <a:xfrm>
            <a:off x="11802544" y="381240"/>
            <a:ext cx="1296867" cy="1249709"/>
            <a:chOff x="0" y="0"/>
            <a:chExt cx="1729156" cy="1666278"/>
          </a:xfrm>
        </p:grpSpPr>
        <p:sp>
          <p:nvSpPr>
            <p:cNvPr id="191" name="Google Shape;191;g31abfd2b4e9_0_130"/>
            <p:cNvSpPr/>
            <p:nvPr/>
          </p:nvSpPr>
          <p:spPr>
            <a:xfrm>
              <a:off x="0" y="0"/>
              <a:ext cx="1729156" cy="1666278"/>
            </a:xfrm>
            <a:custGeom>
              <a:avLst/>
              <a:gdLst/>
              <a:ahLst/>
              <a:cxnLst/>
              <a:rect l="l" t="t" r="r" b="b"/>
              <a:pathLst>
                <a:path w="1729156" h="1666278" extrusionOk="0">
                  <a:moveTo>
                    <a:pt x="0" y="0"/>
                  </a:moveTo>
                  <a:lnTo>
                    <a:pt x="1729156" y="0"/>
                  </a:lnTo>
                  <a:lnTo>
                    <a:pt x="1729156" y="1666278"/>
                  </a:lnTo>
                  <a:lnTo>
                    <a:pt x="0" y="166627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92" name="Google Shape;192;g31abfd2b4e9_0_130"/>
            <p:cNvGrpSpPr/>
            <p:nvPr/>
          </p:nvGrpSpPr>
          <p:grpSpPr>
            <a:xfrm rot="5400000">
              <a:off x="580810" y="445203"/>
              <a:ext cx="836940" cy="775884"/>
              <a:chOff x="0" y="0"/>
              <a:chExt cx="812800" cy="753505"/>
            </a:xfrm>
          </p:grpSpPr>
          <p:sp>
            <p:nvSpPr>
              <p:cNvPr id="193" name="Google Shape;193;g31abfd2b4e9_0_130"/>
              <p:cNvSpPr/>
              <p:nvPr/>
            </p:nvSpPr>
            <p:spPr>
              <a:xfrm>
                <a:off x="0" y="0"/>
                <a:ext cx="812800" cy="75350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753505" extrusionOk="0">
                    <a:moveTo>
                      <a:pt x="406400" y="0"/>
                    </a:moveTo>
                    <a:lnTo>
                      <a:pt x="812800" y="753505"/>
                    </a:lnTo>
                    <a:lnTo>
                      <a:pt x="0" y="75350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4" name="Google Shape;194;g31abfd2b4e9_0_130"/>
              <p:cNvSpPr txBox="1"/>
              <p:nvPr/>
            </p:nvSpPr>
            <p:spPr>
              <a:xfrm>
                <a:off x="127000" y="321267"/>
                <a:ext cx="558900" cy="378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39350" tIns="39350" rIns="39350" bIns="393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56388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5" name="Google Shape;195;g31abfd2b4e9_0_130"/>
          <p:cNvSpPr txBox="1"/>
          <p:nvPr/>
        </p:nvSpPr>
        <p:spPr>
          <a:xfrm>
            <a:off x="5191545" y="449417"/>
            <a:ext cx="7045500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15"/>
              <a:buFont typeface="Arial"/>
              <a:buNone/>
            </a:pPr>
            <a:r>
              <a:rPr lang="en-US" sz="7515" b="1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EDA Insights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Рисунок 1" descr="Изображение выглядит как текст, снимок экрана, диаграмма, Красочность&#10;&#10;Автоматически созданное описание">
            <a:extLst>
              <a:ext uri="{FF2B5EF4-FFF2-40B4-BE49-F238E27FC236}">
                <a16:creationId xmlns:a16="http://schemas.microsoft.com/office/drawing/2014/main" id="{F02D67F7-05DA-C444-ED9B-517A8BAE72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0098" y="1958423"/>
            <a:ext cx="9077325" cy="8324850"/>
          </a:xfrm>
          <a:prstGeom prst="rect">
            <a:avLst/>
          </a:prstGeom>
        </p:spPr>
      </p:pic>
    </p:spTree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31b648ae6f7_0_3"/>
          <p:cNvSpPr txBox="1"/>
          <p:nvPr/>
        </p:nvSpPr>
        <p:spPr>
          <a:xfrm>
            <a:off x="912050" y="2875300"/>
            <a:ext cx="5848800" cy="657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23DC6D"/>
                </a:solidFill>
                <a:latin typeface="Lato"/>
                <a:ea typeface="Lato"/>
                <a:cs typeface="Lato"/>
                <a:sym typeface="Lato"/>
              </a:rPr>
              <a:t>Feature Trends:</a:t>
            </a:r>
            <a:endParaRPr sz="2400" b="1">
              <a:solidFill>
                <a:srgbClr val="23DC6D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Danceability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Increased over time, peaking post-2015, indicating a shift towards more rhythmically engaging music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Acousticness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Post-2015 saw an increase, suggesting a preference for tracks with more acoustic elements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Valence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Decreased consistently, reflecting a trend toward less "happy" or emotionally positive music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Loudness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More louder tracks as they stand out and get more attention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02" name="Google Shape;202;g31b648ae6f7_0_3"/>
          <p:cNvSpPr txBox="1"/>
          <p:nvPr/>
        </p:nvSpPr>
        <p:spPr>
          <a:xfrm>
            <a:off x="912049" y="2321200"/>
            <a:ext cx="12969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999"/>
              <a:buFont typeface="Arial"/>
              <a:buNone/>
            </a:pPr>
            <a:r>
              <a:rPr lang="en-US" sz="3600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</a:t>
            </a:r>
            <a:r>
              <a:rPr lang="en-US" sz="36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2</a:t>
            </a:r>
            <a:endParaRPr sz="3600" b="1" i="0" u="none" strike="noStrike" cap="none">
              <a:solidFill>
                <a:srgbClr val="000000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grpSp>
        <p:nvGrpSpPr>
          <p:cNvPr id="203" name="Google Shape;203;g31b648ae6f7_0_3"/>
          <p:cNvGrpSpPr/>
          <p:nvPr/>
        </p:nvGrpSpPr>
        <p:grpSpPr>
          <a:xfrm>
            <a:off x="11802544" y="381240"/>
            <a:ext cx="1296867" cy="1249709"/>
            <a:chOff x="0" y="0"/>
            <a:chExt cx="1729156" cy="1666278"/>
          </a:xfrm>
        </p:grpSpPr>
        <p:sp>
          <p:nvSpPr>
            <p:cNvPr id="204" name="Google Shape;204;g31b648ae6f7_0_3"/>
            <p:cNvSpPr/>
            <p:nvPr/>
          </p:nvSpPr>
          <p:spPr>
            <a:xfrm>
              <a:off x="0" y="0"/>
              <a:ext cx="1729156" cy="1666278"/>
            </a:xfrm>
            <a:custGeom>
              <a:avLst/>
              <a:gdLst/>
              <a:ahLst/>
              <a:cxnLst/>
              <a:rect l="l" t="t" r="r" b="b"/>
              <a:pathLst>
                <a:path w="1729156" h="1666278" extrusionOk="0">
                  <a:moveTo>
                    <a:pt x="0" y="0"/>
                  </a:moveTo>
                  <a:lnTo>
                    <a:pt x="1729156" y="0"/>
                  </a:lnTo>
                  <a:lnTo>
                    <a:pt x="1729156" y="1666278"/>
                  </a:lnTo>
                  <a:lnTo>
                    <a:pt x="0" y="166627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05" name="Google Shape;205;g31b648ae6f7_0_3"/>
            <p:cNvGrpSpPr/>
            <p:nvPr/>
          </p:nvGrpSpPr>
          <p:grpSpPr>
            <a:xfrm rot="5400000">
              <a:off x="580810" y="445203"/>
              <a:ext cx="836940" cy="775884"/>
              <a:chOff x="0" y="0"/>
              <a:chExt cx="812800" cy="753505"/>
            </a:xfrm>
          </p:grpSpPr>
          <p:sp>
            <p:nvSpPr>
              <p:cNvPr id="206" name="Google Shape;206;g31b648ae6f7_0_3"/>
              <p:cNvSpPr/>
              <p:nvPr/>
            </p:nvSpPr>
            <p:spPr>
              <a:xfrm>
                <a:off x="0" y="0"/>
                <a:ext cx="812800" cy="75350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753505" extrusionOk="0">
                    <a:moveTo>
                      <a:pt x="406400" y="0"/>
                    </a:moveTo>
                    <a:lnTo>
                      <a:pt x="812800" y="753505"/>
                    </a:lnTo>
                    <a:lnTo>
                      <a:pt x="0" y="75350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7" name="Google Shape;207;g31b648ae6f7_0_3"/>
              <p:cNvSpPr txBox="1"/>
              <p:nvPr/>
            </p:nvSpPr>
            <p:spPr>
              <a:xfrm>
                <a:off x="127000" y="321267"/>
                <a:ext cx="558900" cy="378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39350" tIns="39350" rIns="39350" bIns="393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56388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8" name="Google Shape;208;g31b648ae6f7_0_3"/>
          <p:cNvSpPr txBox="1"/>
          <p:nvPr/>
        </p:nvSpPr>
        <p:spPr>
          <a:xfrm>
            <a:off x="5191545" y="449417"/>
            <a:ext cx="7045500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15"/>
              <a:buFont typeface="Arial"/>
              <a:buNone/>
            </a:pPr>
            <a:r>
              <a:rPr lang="en-US" sz="7515" b="1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EDA Insights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9" name="Google Shape;209;g31b648ae6f7_0_3"/>
          <p:cNvPicPr preferRelativeResize="0"/>
          <p:nvPr/>
        </p:nvPicPr>
        <p:blipFill rotWithShape="1">
          <a:blip r:embed="rId4">
            <a:alphaModFix/>
          </a:blip>
          <a:srcRect r="66042" b="75195"/>
          <a:stretch/>
        </p:blipFill>
        <p:spPr>
          <a:xfrm>
            <a:off x="6987950" y="2026151"/>
            <a:ext cx="5189612" cy="37995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10" name="Google Shape;210;g31b648ae6f7_0_3"/>
          <p:cNvPicPr preferRelativeResize="0"/>
          <p:nvPr/>
        </p:nvPicPr>
        <p:blipFill rotWithShape="1">
          <a:blip r:embed="rId4">
            <a:alphaModFix/>
          </a:blip>
          <a:srcRect l="32924" t="25158" r="33915" b="49662"/>
          <a:stretch/>
        </p:blipFill>
        <p:spPr>
          <a:xfrm>
            <a:off x="12380273" y="2026150"/>
            <a:ext cx="4992579" cy="37995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11" name="Google Shape;211;g31b648ae6f7_0_3"/>
          <p:cNvPicPr preferRelativeResize="0"/>
          <p:nvPr/>
        </p:nvPicPr>
        <p:blipFill rotWithShape="1">
          <a:blip r:embed="rId4">
            <a:alphaModFix/>
          </a:blip>
          <a:srcRect l="34398" t="50013" r="32983" b="24924"/>
          <a:stretch/>
        </p:blipFill>
        <p:spPr>
          <a:xfrm>
            <a:off x="6987950" y="6004148"/>
            <a:ext cx="5189612" cy="399672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2" name="Google Shape;212;g31b648ae6f7_0_3"/>
          <p:cNvPicPr preferRelativeResize="0"/>
          <p:nvPr/>
        </p:nvPicPr>
        <p:blipFill rotWithShape="1">
          <a:blip r:embed="rId4">
            <a:alphaModFix/>
          </a:blip>
          <a:srcRect l="67831" b="74248"/>
          <a:stretch/>
        </p:blipFill>
        <p:spPr>
          <a:xfrm>
            <a:off x="12380275" y="6004150"/>
            <a:ext cx="4992573" cy="39967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1b648ae6f7_0_26"/>
          <p:cNvSpPr txBox="1"/>
          <p:nvPr/>
        </p:nvSpPr>
        <p:spPr>
          <a:xfrm>
            <a:off x="912050" y="2875300"/>
            <a:ext cx="16680300" cy="19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23DC6D"/>
                </a:solidFill>
                <a:latin typeface="Lato"/>
                <a:ea typeface="Lato"/>
                <a:cs typeface="Lato"/>
                <a:sym typeface="Lato"/>
              </a:rPr>
              <a:t>Genre Trends:</a:t>
            </a:r>
            <a:endParaRPr sz="2400" b="1">
              <a:solidFill>
                <a:srgbClr val="23DC6D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Rock's Decline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Once the dominant genre, rock's share has decreased over time, particularly among popular tracks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Latin and Pop's Rise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Reflects globalization and the influence of streaming platforms in popularizing these genres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marR="0" lvl="0" indent="-38100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Lato"/>
              <a:buChar char="●"/>
            </a:pPr>
            <a:r>
              <a:rPr lang="en-US" sz="2400" u="sng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DM Experimentation:</a:t>
            </a:r>
            <a:r>
              <a:rPr lang="en-US" sz="240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Saw significant growth in the 2010s, but many tracks failed to break into the popular category.</a:t>
            </a:r>
            <a:endParaRPr sz="240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18" name="Google Shape;218;g31b648ae6f7_0_26"/>
          <p:cNvSpPr txBox="1"/>
          <p:nvPr/>
        </p:nvSpPr>
        <p:spPr>
          <a:xfrm>
            <a:off x="912049" y="2321200"/>
            <a:ext cx="12969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04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999"/>
              <a:buFont typeface="Arial"/>
              <a:buNone/>
            </a:pPr>
            <a:r>
              <a:rPr lang="en-US" sz="3600" b="1" i="0" u="none" strike="noStrike" cap="none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0</a:t>
            </a:r>
            <a:r>
              <a:rPr lang="en-US" sz="3600" b="1">
                <a:solidFill>
                  <a:srgbClr val="23DC6D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3</a:t>
            </a:r>
            <a:endParaRPr sz="3600" b="1" i="0" u="none" strike="noStrike" cap="none">
              <a:solidFill>
                <a:srgbClr val="000000"/>
              </a:solidFill>
              <a:latin typeface="League Spartan"/>
              <a:ea typeface="League Spartan"/>
              <a:cs typeface="League Spartan"/>
              <a:sym typeface="League Spartan"/>
            </a:endParaRPr>
          </a:p>
        </p:txBody>
      </p:sp>
      <p:grpSp>
        <p:nvGrpSpPr>
          <p:cNvPr id="219" name="Google Shape;219;g31b648ae6f7_0_26"/>
          <p:cNvGrpSpPr/>
          <p:nvPr/>
        </p:nvGrpSpPr>
        <p:grpSpPr>
          <a:xfrm>
            <a:off x="11802544" y="381240"/>
            <a:ext cx="1296867" cy="1249709"/>
            <a:chOff x="0" y="0"/>
            <a:chExt cx="1729156" cy="1666278"/>
          </a:xfrm>
        </p:grpSpPr>
        <p:sp>
          <p:nvSpPr>
            <p:cNvPr id="220" name="Google Shape;220;g31b648ae6f7_0_26"/>
            <p:cNvSpPr/>
            <p:nvPr/>
          </p:nvSpPr>
          <p:spPr>
            <a:xfrm>
              <a:off x="0" y="0"/>
              <a:ext cx="1729156" cy="1666278"/>
            </a:xfrm>
            <a:custGeom>
              <a:avLst/>
              <a:gdLst/>
              <a:ahLst/>
              <a:cxnLst/>
              <a:rect l="l" t="t" r="r" b="b"/>
              <a:pathLst>
                <a:path w="1729156" h="1666278" extrusionOk="0">
                  <a:moveTo>
                    <a:pt x="0" y="0"/>
                  </a:moveTo>
                  <a:lnTo>
                    <a:pt x="1729156" y="0"/>
                  </a:lnTo>
                  <a:lnTo>
                    <a:pt x="1729156" y="1666278"/>
                  </a:lnTo>
                  <a:lnTo>
                    <a:pt x="0" y="166627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21" name="Google Shape;221;g31b648ae6f7_0_26"/>
            <p:cNvGrpSpPr/>
            <p:nvPr/>
          </p:nvGrpSpPr>
          <p:grpSpPr>
            <a:xfrm rot="5400000">
              <a:off x="580810" y="445203"/>
              <a:ext cx="836940" cy="775884"/>
              <a:chOff x="0" y="0"/>
              <a:chExt cx="812800" cy="753505"/>
            </a:xfrm>
          </p:grpSpPr>
          <p:sp>
            <p:nvSpPr>
              <p:cNvPr id="222" name="Google Shape;222;g31b648ae6f7_0_26"/>
              <p:cNvSpPr/>
              <p:nvPr/>
            </p:nvSpPr>
            <p:spPr>
              <a:xfrm>
                <a:off x="0" y="0"/>
                <a:ext cx="812800" cy="75350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753505" extrusionOk="0">
                    <a:moveTo>
                      <a:pt x="406400" y="0"/>
                    </a:moveTo>
                    <a:lnTo>
                      <a:pt x="812800" y="753505"/>
                    </a:lnTo>
                    <a:lnTo>
                      <a:pt x="0" y="75350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3" name="Google Shape;223;g31b648ae6f7_0_26"/>
              <p:cNvSpPr txBox="1"/>
              <p:nvPr/>
            </p:nvSpPr>
            <p:spPr>
              <a:xfrm>
                <a:off x="127000" y="321267"/>
                <a:ext cx="558900" cy="378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39350" tIns="39350" rIns="39350" bIns="393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56388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4" name="Google Shape;224;g31b648ae6f7_0_26"/>
          <p:cNvSpPr txBox="1"/>
          <p:nvPr/>
        </p:nvSpPr>
        <p:spPr>
          <a:xfrm>
            <a:off x="5191545" y="449417"/>
            <a:ext cx="7045500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15"/>
              <a:buFont typeface="Arial"/>
              <a:buNone/>
            </a:pPr>
            <a:r>
              <a:rPr lang="en-US" sz="7515" b="1">
                <a:solidFill>
                  <a:srgbClr val="FFFFFF"/>
                </a:solidFill>
                <a:latin typeface="League Spartan"/>
                <a:ea typeface="League Spartan"/>
                <a:cs typeface="League Spartan"/>
                <a:sym typeface="League Spartan"/>
              </a:rPr>
              <a:t>EDA Insights</a:t>
            </a:r>
            <a:endParaRPr sz="14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5" name="Google Shape;225;g31b648ae6f7_0_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36125" y="5021625"/>
            <a:ext cx="7137562" cy="4729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g31b648ae6f7_0_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694164" y="5021625"/>
            <a:ext cx="7137587" cy="47293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Custom</PresentationFormat>
  <Slides>19</Slides>
  <Notes>17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revision>1</cp:revision>
  <dcterms:modified xsi:type="dcterms:W3CDTF">2024-12-05T02:51:05Z</dcterms:modified>
</cp:coreProperties>
</file>